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34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22.xml" ContentType="application/vnd.openxmlformats-officedocument.presentationml.slide+xml"/>
  <Override PartName="/ppt/slides/slide21.xml" ContentType="application/vnd.openxmlformats-officedocument.presentationml.slide+xml"/>
  <Override PartName="/ppt/slides/slide20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30.xml" ContentType="application/vnd.openxmlformats-officedocument.presentationml.slide+xml"/>
  <Override PartName="/ppt/slides/slide50.xml" ContentType="application/vnd.openxmlformats-officedocument.presentationml.slide+xml"/>
  <Override PartName="/ppt/slides/slide31.xml" ContentType="application/vnd.openxmlformats-officedocument.presentationml.slide+xml"/>
  <Override PartName="/ppt/slides/slide41.xml" ContentType="application/vnd.openxmlformats-officedocument.presentationml.slide+xml"/>
  <Override PartName="/ppt/slides/slide40.xml" ContentType="application/vnd.openxmlformats-officedocument.presentationml.slide+xml"/>
  <Override PartName="/ppt/slides/slide39.xml" ContentType="application/vnd.openxmlformats-officedocument.presentationml.slide+xml"/>
  <Override PartName="/ppt/slides/slide38.xml" ContentType="application/vnd.openxmlformats-officedocument.presentationml.slide+xml"/>
  <Override PartName="/ppt/slides/slide37.xml" ContentType="application/vnd.openxmlformats-officedocument.presentationml.slide+xml"/>
  <Override PartName="/ppt/slides/slide36.xml" ContentType="application/vnd.openxmlformats-officedocument.presentationml.slide+xml"/>
  <Override PartName="/ppt/slides/slide35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32.xml" ContentType="application/vnd.openxmlformats-officedocument.presentationml.slide+xml"/>
  <Override PartName="/ppt/slides/slide49.xml" ContentType="application/vnd.openxmlformats-officedocument.presentationml.slide+xml"/>
  <Override PartName="/ppt/slides/slide48.xml" ContentType="application/vnd.openxmlformats-officedocument.presentationml.slide+xml"/>
  <Override PartName="/ppt/slides/slide47.xml" ContentType="application/vnd.openxmlformats-officedocument.presentationml.slide+xml"/>
  <Override PartName="/ppt/slides/slide46.xml" ContentType="application/vnd.openxmlformats-officedocument.presentationml.slide+xml"/>
  <Override PartName="/ppt/slides/slide45.xml" ContentType="application/vnd.openxmlformats-officedocument.presentationml.slide+xml"/>
  <Override PartName="/ppt/slides/slide33.xml" ContentType="application/vnd.openxmlformats-officedocument.presentationml.slide+xml"/>
  <Override PartName="/ppt/slides/slide12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1.xml" ContentType="application/vnd.openxmlformats-officedocument.presentationml.slide+xml"/>
  <Override PartName="/ppt/slides/slide6.xml" ContentType="application/vnd.openxmlformats-officedocument.presentationml.slide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2.xml" ContentType="application/vnd.openxmlformats-officedocument.presentationml.slideLayout+xml"/>
  <Override PartName="/ppt/notesSlides/notesSlide1.xml" ContentType="application/vnd.openxmlformats-officedocument.presentationml.notesSlid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3"/>
  </p:notesMasterIdLst>
  <p:sldIdLst>
    <p:sldId id="256" r:id="rId3"/>
    <p:sldId id="853" r:id="rId4"/>
    <p:sldId id="265" r:id="rId5"/>
    <p:sldId id="266" r:id="rId6"/>
    <p:sldId id="267" r:id="rId7"/>
    <p:sldId id="268" r:id="rId8"/>
    <p:sldId id="846" r:id="rId9"/>
    <p:sldId id="847" r:id="rId10"/>
    <p:sldId id="848" r:id="rId11"/>
    <p:sldId id="849" r:id="rId12"/>
    <p:sldId id="850" r:id="rId13"/>
    <p:sldId id="851" r:id="rId14"/>
    <p:sldId id="852" r:id="rId15"/>
    <p:sldId id="854" r:id="rId16"/>
    <p:sldId id="855" r:id="rId17"/>
    <p:sldId id="856" r:id="rId18"/>
    <p:sldId id="857" r:id="rId19"/>
    <p:sldId id="858" r:id="rId20"/>
    <p:sldId id="859" r:id="rId21"/>
    <p:sldId id="860" r:id="rId22"/>
    <p:sldId id="878" r:id="rId23"/>
    <p:sldId id="881" r:id="rId24"/>
    <p:sldId id="912" r:id="rId25"/>
    <p:sldId id="913" r:id="rId26"/>
    <p:sldId id="884" r:id="rId27"/>
    <p:sldId id="885" r:id="rId28"/>
    <p:sldId id="886" r:id="rId29"/>
    <p:sldId id="887" r:id="rId30"/>
    <p:sldId id="888" r:id="rId31"/>
    <p:sldId id="889" r:id="rId32"/>
    <p:sldId id="903" r:id="rId33"/>
    <p:sldId id="910" r:id="rId34"/>
    <p:sldId id="904" r:id="rId35"/>
    <p:sldId id="905" r:id="rId36"/>
    <p:sldId id="907" r:id="rId37"/>
    <p:sldId id="908" r:id="rId38"/>
    <p:sldId id="909" r:id="rId39"/>
    <p:sldId id="901" r:id="rId40"/>
    <p:sldId id="916" r:id="rId41"/>
    <p:sldId id="914" r:id="rId42"/>
    <p:sldId id="917" r:id="rId43"/>
    <p:sldId id="928" r:id="rId44"/>
    <p:sldId id="933" r:id="rId45"/>
    <p:sldId id="929" r:id="rId46"/>
    <p:sldId id="935" r:id="rId47"/>
    <p:sldId id="936" r:id="rId48"/>
    <p:sldId id="937" r:id="rId49"/>
    <p:sldId id="938" r:id="rId50"/>
    <p:sldId id="939" r:id="rId51"/>
    <p:sldId id="940" r:id="rId52"/>
  </p:sldIdLst>
  <p:sldSz cx="12192000" cy="6858000"/>
  <p:notesSz cx="6858000" cy="9144000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FFFFFF"/>
    <a:srgbClr val="F3F3F3"/>
    <a:srgbClr val="6188CD"/>
    <a:srgbClr val="FEFEFE"/>
    <a:srgbClr val="C0C0C0"/>
    <a:srgbClr val="E3E3E3"/>
    <a:srgbClr val="D9D9D9"/>
    <a:srgbClr val="843C0C"/>
    <a:srgbClr val="C55A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352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798" y="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notesMaster" Target="notesMasters/notesMaster1.xml"/><Relationship Id="rId58" Type="http://schemas.openxmlformats.org/officeDocument/2006/relationships/customXml" Target="../customXml/item1.xml"/><Relationship Id="rId5" Type="http://schemas.openxmlformats.org/officeDocument/2006/relationships/slide" Target="slides/slide3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heme" Target="theme/theme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customXml" Target="../customXml/item2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tableStyles" Target="tableStyles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 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96F6FF-2E3C-4AB3-B2A8-850B7C38B376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4" name="Slayt Resmi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 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6E6ED44-43F4-4D38-8D6A-B11129602AB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93823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Resmi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ayt Numarası Yer Tutucus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F128EC-0D72-4E7F-A509-59C94831C9EF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tr-T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5194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665B9F17-0AB0-4FB2-9749-275DFA547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Alt Başlık 2">
            <a:extLst>
              <a:ext uri="{FF2B5EF4-FFF2-40B4-BE49-F238E27FC236}">
                <a16:creationId xmlns:a16="http://schemas.microsoft.com/office/drawing/2014/main" id="{28D04692-4427-4290-B39E-E0D7F30634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/>
              <a:t>Asıl alt başlık stilini düzenlemek için tıklayın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FB21657-8C91-48BB-8A2A-9381B1A140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C6DE9D5-7441-420A-BFFD-E2115F81A9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5BA57158-8928-4C43-8E1C-43C1B87E6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16183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65D3E4F3-CBF6-4E4F-B63E-843E589EA7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5D59EDEF-7012-4889-8D53-D25972F09A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54E1B0EC-43A3-479E-94CA-F2A817EC76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3FD82427-DA95-4094-9540-5721486D0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BA64CAE-458D-4889-93DF-C5F3196488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82087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A66BD43E-1F16-4102-9553-6659362086F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6387740A-FC4F-47AC-B70B-2123965FF0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94FD5CFA-F80D-4591-84E2-B7834BCC63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2ED805E2-976B-4F1D-B195-E7F61AF9C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68277893-1D01-435C-8F62-5ECA54E4B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110464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1BA7C5C-84D6-4BA3-86F1-758E6C5F0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1629" y="1623524"/>
            <a:ext cx="9032631" cy="609721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latin typeface="+mn-lt"/>
              </a:defRPr>
            </a:lvl1pPr>
          </a:lstStyle>
          <a:p>
            <a:r>
              <a:rPr lang="tr-TR" dirty="0"/>
              <a:t>Asıl başlık stilini düzenlemek için tıklayın</a:t>
            </a:r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6A0F1031-6366-4859-A428-7CD3D080B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73308" y="6365142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ACAA5CE-A41E-4853-8514-B4F0214A8066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876246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09A376C-A233-40DF-ABFB-B4DBF3D9F4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998" y="1727445"/>
            <a:ext cx="9032631" cy="365125"/>
          </a:xfrm>
          <a:prstGeom prst="rect">
            <a:avLst/>
          </a:prstGeom>
        </p:spPr>
        <p:txBody>
          <a:bodyPr anchor="ctr"/>
          <a:lstStyle>
            <a:lvl1pPr algn="l">
              <a:defRPr sz="2800" b="1">
                <a:latin typeface="+mn-lt"/>
              </a:defRPr>
            </a:lvl1pPr>
          </a:lstStyle>
          <a:p>
            <a:r>
              <a:rPr lang="tr-TR" dirty="0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B66AA5FD-5432-40E1-8C8C-7E9A10D9EE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94998" y="2370137"/>
            <a:ext cx="8865577" cy="4351338"/>
          </a:xfrm>
        </p:spPr>
        <p:txBody>
          <a:bodyPr/>
          <a:lstStyle/>
          <a:p>
            <a:pPr lvl="0"/>
            <a:r>
              <a:rPr lang="tr-TR" dirty="0"/>
              <a:t>Asıl metin stillerini düzenle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A50DB28F-3F11-4280-AA08-4752FC8B36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57190" y="6356350"/>
            <a:ext cx="2743200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ACAA5CE-A41E-4853-8514-B4F0214A8066}" type="slidenum">
              <a:rPr lang="tr-TR" smtClean="0"/>
              <a:pPr/>
              <a:t>‹#›</a:t>
            </a:fld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3314839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2A35CD12-FBF5-4351-B677-0BE2FC2C71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6C9EA69A-1B47-4862-8247-E47A563520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8113316B-7A4B-4B94-9416-40D4D90F26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AC3F14C4-1E89-4E49-918F-0015BC6BDF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3A6B8F1-ACBB-4E10-ABC7-76308B7DF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719125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3E20FC6E-C59E-4B60-8827-A88C4309F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F933B18D-8A96-4BCC-8A8A-BAD120622C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06AA431A-F3A7-4CBA-BA69-AA06A04F29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DC86B277-4680-4C63-BD88-1FB7D39722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03789700-D4C2-4351-AA18-3F72E2660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08C08560-F7B7-46C7-A2B0-2A223A81E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762787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EAC927C-8156-4237-8A57-F6B97746D6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F29713F1-0642-4691-9144-A2B4E8F54E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4DE8FBD4-DD5B-429B-B775-67E587BACA1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C954C58A-1058-41A7-94A3-5170FEA2F4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034FF8A6-57D0-46A3-9381-AAFDF1DC2B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19569AFD-7EE5-48F6-9477-FB399872D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082B330D-0A1B-48DF-9029-F3B2C8850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7FA0F394-8C97-47B5-98A0-C6FEEDC893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5676906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B8585947-F4B4-4DC7-9C4F-42091F453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86F51C45-8161-4BAF-B737-2487A4FE29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93C26CB1-D543-4CD0-918D-F6A1B59BC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4D157FBA-C2F3-4379-84C6-D14633464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36572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70F8D15E-0D84-45B4-8071-00CD6B363B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556400A7-8595-46F2-A067-0E9E38A5C4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36CF241B-925A-4512-8932-26A4B7E4E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917656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96783D5F-B9C9-47BB-AB14-008F9F58F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EF501E3F-F8AE-46F4-B766-5EB3D73419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1BD5C521-B9A5-4295-A31E-B426424771F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32E2248A-1D2F-4C19-8C53-F21BF23670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8486C036-C76F-4E4D-B7DD-86F037EA56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70946E20-23CB-4CE7-ADEC-9474B34CE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80575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298407D-DC55-4A15-8AC3-9FCC44573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5FFD9B34-A4FD-4E24-A9E0-32D2D7769E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564569FA-E045-412E-BAD9-F5B580DE75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8E157F17-EF97-426F-A6BB-6AE9CCBCE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9CF8EE37-422B-4623-9A1A-7A3B52512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653642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A535E4C5-71A4-49DB-8069-C53EAF36FA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FE8BC584-EA49-418E-91A5-5EF11CB435C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AE3D6AD5-357B-49A8-A833-F964423F44E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6FB9EC4C-33FF-4675-9BCF-7B5717D748D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9012E122-49E2-486F-800F-5D6484EE6E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573E4E96-C293-499C-A4D8-46B34DF70F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328146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 ve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8EB3AC95-9EAC-4487-A3DC-3CA213F36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E5506C1D-9AF2-4BDB-8E6E-7E71C3A53E9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A58F293D-D9EF-4DEC-88E6-8C9FA7FBF21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9249E37C-630B-47D2-B01A-A53FEBE8CA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66CA74CA-F5A4-4810-B4C6-437F5EAF96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348672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>
            <a:extLst>
              <a:ext uri="{FF2B5EF4-FFF2-40B4-BE49-F238E27FC236}">
                <a16:creationId xmlns:a16="http://schemas.microsoft.com/office/drawing/2014/main" id="{AFFF0A4F-1389-4A92-8BCE-4F1583E00AC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Dikey Metin Yer Tutucusu 2">
            <a:extLst>
              <a:ext uri="{FF2B5EF4-FFF2-40B4-BE49-F238E27FC236}">
                <a16:creationId xmlns:a16="http://schemas.microsoft.com/office/drawing/2014/main" id="{022D8F65-E5DB-433B-91B1-047607907B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0AC8175E-6064-4746-806B-DA68EF40A9D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40BB89F3-A28F-4746-B292-AC0CCC583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B0BB5A2C-5481-4682-856E-B361AAE97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CAA5CE-A41E-4853-8514-B4F0214A8066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166607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uzen ası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9" name="Dikdörtgen 8"/>
          <p:cNvSpPr/>
          <p:nvPr userDrawn="1"/>
        </p:nvSpPr>
        <p:spPr>
          <a:xfrm>
            <a:off x="-196364" y="8947221"/>
            <a:ext cx="12192000" cy="2084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37" dirty="0" err="1">
              <a:solidFill>
                <a:schemeClr val="tx1"/>
              </a:solidFill>
            </a:endParaRPr>
          </a:p>
        </p:txBody>
      </p:sp>
      <p:sp>
        <p:nvSpPr>
          <p:cNvPr id="12" name="Slide Number"/>
          <p:cNvSpPr txBox="1">
            <a:spLocks/>
          </p:cNvSpPr>
          <p:nvPr userDrawn="1"/>
        </p:nvSpPr>
        <p:spPr bwMode="auto">
          <a:xfrm>
            <a:off x="11455689" y="8999728"/>
            <a:ext cx="123432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9" name="Dikdörtgen 18"/>
          <p:cNvSpPr/>
          <p:nvPr userDrawn="1"/>
        </p:nvSpPr>
        <p:spPr>
          <a:xfrm>
            <a:off x="36892" y="8945721"/>
            <a:ext cx="1402756" cy="217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tr-TR" sz="816" b="0" spc="-8" dirty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ji  </a:t>
            </a:r>
            <a:r>
              <a:rPr lang="tr-TR" sz="816" b="0" spc="-4" dirty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liştirme Başkanlığı</a:t>
            </a:r>
            <a:endParaRPr lang="es-ES" sz="816" b="0" kern="0" dirty="0">
              <a:solidFill>
                <a:srgbClr val="80808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Dikdörtgen 19"/>
          <p:cNvSpPr/>
          <p:nvPr userDrawn="1"/>
        </p:nvSpPr>
        <p:spPr>
          <a:xfrm>
            <a:off x="0" y="6534050"/>
            <a:ext cx="12192000" cy="208425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/>
          <p:cNvSpPr txBox="1">
            <a:spLocks/>
          </p:cNvSpPr>
          <p:nvPr userDrawn="1"/>
        </p:nvSpPr>
        <p:spPr bwMode="auto">
          <a:xfrm>
            <a:off x="11652053" y="6586557"/>
            <a:ext cx="123432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16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sz="816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2" name="Dikdörtgen 10">
            <a:extLst>
              <a:ext uri="{FF2B5EF4-FFF2-40B4-BE49-F238E27FC236}">
                <a16:creationId xmlns:a16="http://schemas.microsoft.com/office/drawing/2014/main" id="{B2D43386-851E-4A17-AB98-5759F5B2DC01}"/>
              </a:ext>
            </a:extLst>
          </p:cNvPr>
          <p:cNvSpPr/>
          <p:nvPr userDrawn="1"/>
        </p:nvSpPr>
        <p:spPr>
          <a:xfrm>
            <a:off x="0" y="300772"/>
            <a:ext cx="12192000" cy="10152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37"/>
          </a:p>
        </p:txBody>
      </p:sp>
      <p:sp>
        <p:nvSpPr>
          <p:cNvPr id="26" name="Title 10"/>
          <p:cNvSpPr>
            <a:spLocks noGrp="1"/>
          </p:cNvSpPr>
          <p:nvPr>
            <p:ph type="title"/>
          </p:nvPr>
        </p:nvSpPr>
        <p:spPr>
          <a:xfrm>
            <a:off x="1263809" y="603983"/>
            <a:ext cx="9998953" cy="251222"/>
          </a:xfrm>
        </p:spPr>
        <p:txBody>
          <a:bodyPr/>
          <a:lstStyle>
            <a:lvl1pPr>
              <a:defRPr sz="1632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tr-TR" dirty="0"/>
              <a:t>Asıl başlık stili için tıklayın</a:t>
            </a:r>
            <a:endParaRPr lang="en-US" dirty="0"/>
          </a:p>
        </p:txBody>
      </p:sp>
      <p:sp>
        <p:nvSpPr>
          <p:cNvPr id="27" name="Dikdörtgen 26"/>
          <p:cNvSpPr/>
          <p:nvPr userDrawn="1"/>
        </p:nvSpPr>
        <p:spPr>
          <a:xfrm>
            <a:off x="233256" y="6532550"/>
            <a:ext cx="1402756" cy="2178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tr-TR" sz="816" b="0" spc="-8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ateji  </a:t>
            </a:r>
            <a:r>
              <a:rPr lang="tr-TR" sz="816" b="0" spc="-4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liştirme Başkanlığı</a:t>
            </a:r>
            <a:endParaRPr lang="es-ES" sz="816" b="0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Oval 2"/>
          <p:cNvSpPr/>
          <p:nvPr userDrawn="1"/>
        </p:nvSpPr>
        <p:spPr>
          <a:xfrm>
            <a:off x="10804277" y="135122"/>
            <a:ext cx="712494" cy="534339"/>
          </a:xfrm>
          <a:prstGeom prst="ellipse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sz="1837" dirty="0" err="1">
              <a:solidFill>
                <a:schemeClr val="tx1"/>
              </a:solidFill>
            </a:endParaRPr>
          </a:p>
        </p:txBody>
      </p:sp>
      <p:pic>
        <p:nvPicPr>
          <p:cNvPr id="2" name="Resim 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41" b="22493"/>
          <a:stretch/>
        </p:blipFill>
        <p:spPr>
          <a:xfrm>
            <a:off x="10433088" y="162473"/>
            <a:ext cx="1466261" cy="60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8641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085967" y="3650596"/>
            <a:ext cx="8478152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28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11487910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16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3085967" y="6540989"/>
            <a:ext cx="4822214" cy="2510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CONFIDENTIAL AND PROPRIETARY</a:t>
            </a:r>
          </a:p>
          <a:p>
            <a:pPr defTabSz="821202" eaLnBrk="0" hangingPunct="0"/>
            <a:r>
              <a:rPr lang="en-US" sz="816" baseline="0" dirty="0">
                <a:solidFill>
                  <a:srgbClr val="FFFFFF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:p14="http://schemas.microsoft.com/office/powerpoint/2010/main" val="3581794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Özel Düzen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5000" contrast="17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İçerik Yer Tutucusu 2"/>
          <p:cNvSpPr>
            <a:spLocks noGrp="1"/>
          </p:cNvSpPr>
          <p:nvPr>
            <p:ph idx="1"/>
          </p:nvPr>
        </p:nvSpPr>
        <p:spPr>
          <a:xfrm>
            <a:off x="165035" y="1334814"/>
            <a:ext cx="11865197" cy="5021536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</p:spTree>
    <p:extLst>
      <p:ext uri="{BB962C8B-B14F-4D97-AF65-F5344CB8AC3E}">
        <p14:creationId xmlns:p14="http://schemas.microsoft.com/office/powerpoint/2010/main" val="385172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 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48894E62-03C1-425A-BB04-507B9B41D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92872682-4F94-4183-A1F2-3FCC8B095D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9CB3C79B-2455-4E87-AEE5-27B6E6B4A1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1DCA4BB4-58F1-4441-8B57-4EDFDA4126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96775422-A4AB-4892-AAD6-C1B28DA5F5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874183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0D1CA9C9-AAB4-4BCA-BF20-47290D1C50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09522095-C8BD-40A2-A91D-8154F6E022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AE63BCB6-8327-4655-AC60-B9A3AC63794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02BA897C-C4C1-4641-BC59-DED230DD54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4323A7EE-FAE1-4716-A438-1695E6E42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028EBD6B-A85D-4F79-ACDA-063220B6D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1906625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3C6B1840-3733-493B-BEDD-4A1D58193F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8632B4EA-D09A-4363-83A9-40871D5D73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4" name="İçerik Yer Tutucusu 3">
            <a:extLst>
              <a:ext uri="{FF2B5EF4-FFF2-40B4-BE49-F238E27FC236}">
                <a16:creationId xmlns:a16="http://schemas.microsoft.com/office/drawing/2014/main" id="{E2F7C190-6F43-4731-B7F5-439B5E8955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>
            <a:extLst>
              <a:ext uri="{FF2B5EF4-FFF2-40B4-BE49-F238E27FC236}">
                <a16:creationId xmlns:a16="http://schemas.microsoft.com/office/drawing/2014/main" id="{6400F913-2919-400F-9128-D6A91FD3E44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6" name="İçerik Yer Tutucusu 5">
            <a:extLst>
              <a:ext uri="{FF2B5EF4-FFF2-40B4-BE49-F238E27FC236}">
                <a16:creationId xmlns:a16="http://schemas.microsoft.com/office/drawing/2014/main" id="{C6E2F6AB-AA69-4A89-83FE-5CCA02D9C4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>
            <a:extLst>
              <a:ext uri="{FF2B5EF4-FFF2-40B4-BE49-F238E27FC236}">
                <a16:creationId xmlns:a16="http://schemas.microsoft.com/office/drawing/2014/main" id="{53FAA26F-19B1-4316-A445-34D29F04B5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8" name="Alt Bilgi Yer Tutucusu 7">
            <a:extLst>
              <a:ext uri="{FF2B5EF4-FFF2-40B4-BE49-F238E27FC236}">
                <a16:creationId xmlns:a16="http://schemas.microsoft.com/office/drawing/2014/main" id="{3009E916-1EDF-4344-B5B4-D732A9081C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>
            <a:extLst>
              <a:ext uri="{FF2B5EF4-FFF2-40B4-BE49-F238E27FC236}">
                <a16:creationId xmlns:a16="http://schemas.microsoft.com/office/drawing/2014/main" id="{50CBD9ED-7590-4A38-950C-C758F4853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633922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11334416-9F65-483B-995E-03DB2214D4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Veri Yer Tutucusu 2">
            <a:extLst>
              <a:ext uri="{FF2B5EF4-FFF2-40B4-BE49-F238E27FC236}">
                <a16:creationId xmlns:a16="http://schemas.microsoft.com/office/drawing/2014/main" id="{13985F3A-1F21-4C97-83F6-ABF57FE5BC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4" name="Alt Bilgi Yer Tutucusu 3">
            <a:extLst>
              <a:ext uri="{FF2B5EF4-FFF2-40B4-BE49-F238E27FC236}">
                <a16:creationId xmlns:a16="http://schemas.microsoft.com/office/drawing/2014/main" id="{72E117D9-7045-49D7-9C41-F4791ED87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>
            <a:extLst>
              <a:ext uri="{FF2B5EF4-FFF2-40B4-BE49-F238E27FC236}">
                <a16:creationId xmlns:a16="http://schemas.microsoft.com/office/drawing/2014/main" id="{475E216D-111F-479E-9D06-223551DD85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2141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>
            <a:extLst>
              <a:ext uri="{FF2B5EF4-FFF2-40B4-BE49-F238E27FC236}">
                <a16:creationId xmlns:a16="http://schemas.microsoft.com/office/drawing/2014/main" id="{D4C1F316-76E5-43A0-BC8C-179DCA80E6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3" name="Alt Bilgi Yer Tutucusu 2">
            <a:extLst>
              <a:ext uri="{FF2B5EF4-FFF2-40B4-BE49-F238E27FC236}">
                <a16:creationId xmlns:a16="http://schemas.microsoft.com/office/drawing/2014/main" id="{29F5F806-C894-49B9-8310-3F58DACAA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>
            <a:extLst>
              <a:ext uri="{FF2B5EF4-FFF2-40B4-BE49-F238E27FC236}">
                <a16:creationId xmlns:a16="http://schemas.microsoft.com/office/drawing/2014/main" id="{250A23CB-EEF5-4055-8D25-18F7FA2D86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366603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D198E11C-ECAC-4739-86C0-E568568AD1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İçerik Yer Tutucusu 2">
            <a:extLst>
              <a:ext uri="{FF2B5EF4-FFF2-40B4-BE49-F238E27FC236}">
                <a16:creationId xmlns:a16="http://schemas.microsoft.com/office/drawing/2014/main" id="{2202A22E-119D-461F-9611-81FB361C63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5564065B-1EAD-42B4-B212-FDC8EA7A5F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8FCAD2C1-718E-4EE0-BE36-84591989FE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9A302DA3-C062-4165-B37B-82BD6230DD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AB75AA50-9D44-4A32-9BB3-7AE3BA489A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821163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>
            <a:extLst>
              <a:ext uri="{FF2B5EF4-FFF2-40B4-BE49-F238E27FC236}">
                <a16:creationId xmlns:a16="http://schemas.microsoft.com/office/drawing/2014/main" id="{3557C76A-36AC-4743-A653-54BB18FF2E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Resim Yer Tutucusu 2">
            <a:extLst>
              <a:ext uri="{FF2B5EF4-FFF2-40B4-BE49-F238E27FC236}">
                <a16:creationId xmlns:a16="http://schemas.microsoft.com/office/drawing/2014/main" id="{A1C52E42-8977-44E9-89E8-8DD4B590779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>
            <a:extLst>
              <a:ext uri="{FF2B5EF4-FFF2-40B4-BE49-F238E27FC236}">
                <a16:creationId xmlns:a16="http://schemas.microsoft.com/office/drawing/2014/main" id="{F1F931B5-A7CE-473F-8380-4B38A13F14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/>
              <a:t>Asıl metin stillerini düzenle</a:t>
            </a:r>
          </a:p>
        </p:txBody>
      </p:sp>
      <p:sp>
        <p:nvSpPr>
          <p:cNvPr id="5" name="Veri Yer Tutucusu 4">
            <a:extLst>
              <a:ext uri="{FF2B5EF4-FFF2-40B4-BE49-F238E27FC236}">
                <a16:creationId xmlns:a16="http://schemas.microsoft.com/office/drawing/2014/main" id="{A2AA39B1-9243-4BC7-8192-4926631F55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6" name="Alt Bilgi Yer Tutucusu 5">
            <a:extLst>
              <a:ext uri="{FF2B5EF4-FFF2-40B4-BE49-F238E27FC236}">
                <a16:creationId xmlns:a16="http://schemas.microsoft.com/office/drawing/2014/main" id="{6669B822-CC4A-42BB-A7B6-B9FD110BB4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>
            <a:extLst>
              <a:ext uri="{FF2B5EF4-FFF2-40B4-BE49-F238E27FC236}">
                <a16:creationId xmlns:a16="http://schemas.microsoft.com/office/drawing/2014/main" id="{FFB6F08E-851E-45A1-ABC6-3129B8D74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56294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microsoft.com/office/2007/relationships/hdphoto" Target="../media/hdphoto1.wdp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3.sv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1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>
            <a:extLst>
              <a:ext uri="{FF2B5EF4-FFF2-40B4-BE49-F238E27FC236}">
                <a16:creationId xmlns:a16="http://schemas.microsoft.com/office/drawing/2014/main" id="{4B975C14-7A80-4448-8BB4-7B3758ACD7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ni düzenlemek için tıklayın</a:t>
            </a:r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17DF4AEE-1501-4EBC-8440-15A2E2C65A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>
            <a:extLst>
              <a:ext uri="{FF2B5EF4-FFF2-40B4-BE49-F238E27FC236}">
                <a16:creationId xmlns:a16="http://schemas.microsoft.com/office/drawing/2014/main" id="{7E830F8A-3110-4487-A3CE-866B8317AF2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198811-00D8-4166-A024-9E4318846017}" type="datetimeFigureOut">
              <a:rPr lang="tr-TR" smtClean="0"/>
              <a:t>24.04.2024</a:t>
            </a:fld>
            <a:endParaRPr lang="tr-TR"/>
          </a:p>
        </p:txBody>
      </p:sp>
      <p:sp>
        <p:nvSpPr>
          <p:cNvPr id="5" name="Alt Bilgi Yer Tutucusu 4">
            <a:extLst>
              <a:ext uri="{FF2B5EF4-FFF2-40B4-BE49-F238E27FC236}">
                <a16:creationId xmlns:a16="http://schemas.microsoft.com/office/drawing/2014/main" id="{81D247FF-605B-4216-AD57-AD83FBBAA2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86AE838E-8712-4B76-95F1-2FBEBDEE86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567883-B52B-4FD4-B63D-6F4E4E0B4B1A}" type="slidenum">
              <a:rPr lang="tr-TR" smtClean="0"/>
              <a:t>‹#›</a:t>
            </a:fld>
            <a:endParaRPr lang="tr-TR"/>
          </a:p>
        </p:txBody>
      </p:sp>
      <p:pic>
        <p:nvPicPr>
          <p:cNvPr id="7" name="Resim 6">
            <a:extLst>
              <a:ext uri="{FF2B5EF4-FFF2-40B4-BE49-F238E27FC236}">
                <a16:creationId xmlns:a16="http://schemas.microsoft.com/office/drawing/2014/main" id="{2984A714-A6C7-4CA7-96EF-B84E8A5804CF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73" y="247919"/>
            <a:ext cx="2100942" cy="563896"/>
          </a:xfrm>
          <a:prstGeom prst="rect">
            <a:avLst/>
          </a:prstGeom>
        </p:spPr>
      </p:pic>
      <p:cxnSp>
        <p:nvCxnSpPr>
          <p:cNvPr id="8" name="Düz Bağlayıcı 7">
            <a:extLst>
              <a:ext uri="{FF2B5EF4-FFF2-40B4-BE49-F238E27FC236}">
                <a16:creationId xmlns:a16="http://schemas.microsoft.com/office/drawing/2014/main" id="{EF949A6F-CF45-4CE3-880A-DDFE210550A0}"/>
              </a:ext>
            </a:extLst>
          </p:cNvPr>
          <p:cNvCxnSpPr>
            <a:cxnSpLocks/>
          </p:cNvCxnSpPr>
          <p:nvPr userDrawn="1"/>
        </p:nvCxnSpPr>
        <p:spPr>
          <a:xfrm flipH="1">
            <a:off x="2235200" y="576943"/>
            <a:ext cx="9893300" cy="0"/>
          </a:xfrm>
          <a:prstGeom prst="line">
            <a:avLst/>
          </a:prstGeom>
          <a:ln w="19050">
            <a:solidFill>
              <a:srgbClr val="8DA9C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ayt Numarası Yer Tutucusu 12">
            <a:extLst>
              <a:ext uri="{FF2B5EF4-FFF2-40B4-BE49-F238E27FC236}">
                <a16:creationId xmlns:a16="http://schemas.microsoft.com/office/drawing/2014/main" id="{62E31417-EFE4-4995-BCF4-71FD73509B76}"/>
              </a:ext>
            </a:extLst>
          </p:cNvPr>
          <p:cNvSpPr txBox="1">
            <a:spLocks/>
          </p:cNvSpPr>
          <p:nvPr userDrawn="1"/>
        </p:nvSpPr>
        <p:spPr>
          <a:xfrm>
            <a:off x="11422384" y="6574035"/>
            <a:ext cx="706116" cy="365125"/>
          </a:xfrm>
          <a:prstGeom prst="rect">
            <a:avLst/>
          </a:prstGeom>
        </p:spPr>
        <p:txBody>
          <a:bodyPr/>
          <a:lstStyle>
            <a:defPPr>
              <a:defRPr lang="tr-TR"/>
            </a:defPPr>
            <a:lvl1pPr marL="0" algn="l" defTabSz="914400" rtl="0" eaLnBrk="1" latinLnBrk="0" hangingPunct="1">
              <a:defRPr sz="1600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04204BE-466C-4FCD-980B-D321A1B2D829}" type="slidenum">
              <a:rPr lang="tr-TR" sz="105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  <a:pPr>
                <a:defRPr/>
              </a:pPr>
              <a:t>‹#›</a:t>
            </a:fld>
            <a:r>
              <a:rPr lang="tr-TR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  <a:t>/100</a:t>
            </a:r>
          </a:p>
          <a:p>
            <a:pPr>
              <a:defRPr/>
            </a:pPr>
            <a:endParaRPr lang="tr-TR" sz="14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endParaRPr lang="tr-TR" sz="140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Metin kutusu 13">
            <a:extLst>
              <a:ext uri="{FF2B5EF4-FFF2-40B4-BE49-F238E27FC236}">
                <a16:creationId xmlns:a16="http://schemas.microsoft.com/office/drawing/2014/main" id="{9F19C9D6-E0F7-4CC9-B5CE-CC401703B675}"/>
              </a:ext>
            </a:extLst>
          </p:cNvPr>
          <p:cNvSpPr txBox="1"/>
          <p:nvPr userDrawn="1"/>
        </p:nvSpPr>
        <p:spPr>
          <a:xfrm>
            <a:off x="10364206" y="283966"/>
            <a:ext cx="1827794" cy="2459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tr-TR" sz="998" b="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İç Kontrol Dairesi Başkanlığı</a:t>
            </a:r>
          </a:p>
        </p:txBody>
      </p:sp>
      <p:sp>
        <p:nvSpPr>
          <p:cNvPr id="15" name="Metin kutusu 4">
            <a:extLst>
              <a:ext uri="{FF2B5EF4-FFF2-40B4-BE49-F238E27FC236}">
                <a16:creationId xmlns:a16="http://schemas.microsoft.com/office/drawing/2014/main" id="{B54B0E79-0B8F-4B4B-90F1-BC7993ED253F}"/>
              </a:ext>
            </a:extLst>
          </p:cNvPr>
          <p:cNvSpPr txBox="1"/>
          <p:nvPr userDrawn="1"/>
        </p:nvSpPr>
        <p:spPr>
          <a:xfrm>
            <a:off x="10889" y="6554013"/>
            <a:ext cx="827311" cy="27699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>
            <a:defPPr>
              <a:defRPr lang="tr-T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tr-TR" sz="1200" dirty="0">
                <a:solidFill>
                  <a:srgbClr val="C7C7C7"/>
                </a:solidFill>
              </a:rPr>
              <a:t>İÇK™2024</a:t>
            </a:r>
          </a:p>
        </p:txBody>
      </p:sp>
    </p:spTree>
    <p:extLst>
      <p:ext uri="{BB962C8B-B14F-4D97-AF65-F5344CB8AC3E}">
        <p14:creationId xmlns:p14="http://schemas.microsoft.com/office/powerpoint/2010/main" val="2012948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 1">
            <a:extLst>
              <a:ext uri="{FF2B5EF4-FFF2-40B4-BE49-F238E27FC236}">
                <a16:creationId xmlns:a16="http://schemas.microsoft.com/office/drawing/2014/main" id="{ED06D679-9961-4D9E-99C6-917454F892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00000">
                <a:schemeClr val="accent1">
                  <a:lumMod val="45000"/>
                  <a:lumOff val="55000"/>
                  <a:alpha val="71000"/>
                </a:schemeClr>
              </a:gs>
              <a:gs pos="100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 dirty="0"/>
          </a:p>
        </p:txBody>
      </p:sp>
      <p:sp>
        <p:nvSpPr>
          <p:cNvPr id="3" name="Metin Yer Tutucusu 2">
            <a:extLst>
              <a:ext uri="{FF2B5EF4-FFF2-40B4-BE49-F238E27FC236}">
                <a16:creationId xmlns:a16="http://schemas.microsoft.com/office/drawing/2014/main" id="{E3F79BB6-FE2A-4D14-97BC-37DBCA30A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488222" y="1825625"/>
            <a:ext cx="886557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dirty="0"/>
              <a:t>Asıl metin stillerini düzenle</a:t>
            </a:r>
          </a:p>
          <a:p>
            <a:pPr lvl="1"/>
            <a:r>
              <a:rPr lang="tr-TR" dirty="0"/>
              <a:t>İkinci düzey</a:t>
            </a:r>
          </a:p>
          <a:p>
            <a:pPr lvl="2"/>
            <a:r>
              <a:rPr lang="tr-TR" dirty="0"/>
              <a:t>Üçüncü düzey</a:t>
            </a:r>
          </a:p>
          <a:p>
            <a:pPr lvl="3"/>
            <a:r>
              <a:rPr lang="tr-TR" dirty="0"/>
              <a:t>Dördüncü düzey</a:t>
            </a:r>
          </a:p>
          <a:p>
            <a:pPr lvl="4"/>
            <a:r>
              <a:rPr lang="tr-TR" dirty="0"/>
              <a:t>Beşinci düzey</a:t>
            </a:r>
          </a:p>
        </p:txBody>
      </p:sp>
      <p:sp>
        <p:nvSpPr>
          <p:cNvPr id="6" name="Slayt Numarası Yer Tutucusu 5">
            <a:extLst>
              <a:ext uri="{FF2B5EF4-FFF2-40B4-BE49-F238E27FC236}">
                <a16:creationId xmlns:a16="http://schemas.microsoft.com/office/drawing/2014/main" id="{1EF14AF2-4325-43A8-B5A7-CDEFDA2C05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E0045CAD-D73F-415B-809B-E69AB0327E88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80269" y="158404"/>
            <a:ext cx="2107953" cy="522633"/>
          </a:xfrm>
          <a:prstGeom prst="rect">
            <a:avLst/>
          </a:prstGeom>
        </p:spPr>
      </p:pic>
      <p:sp>
        <p:nvSpPr>
          <p:cNvPr id="4" name="Dikdörtgen 3">
            <a:extLst>
              <a:ext uri="{FF2B5EF4-FFF2-40B4-BE49-F238E27FC236}">
                <a16:creationId xmlns:a16="http://schemas.microsoft.com/office/drawing/2014/main" id="{50997B3E-3D6B-4ADF-A971-789E114E7813}"/>
              </a:ext>
            </a:extLst>
          </p:cNvPr>
          <p:cNvSpPr/>
          <p:nvPr userDrawn="1"/>
        </p:nvSpPr>
        <p:spPr>
          <a:xfrm>
            <a:off x="0" y="0"/>
            <a:ext cx="61546" cy="6858000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7000"/>
                </a:schemeClr>
              </a:gs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" name="Slayt Numarası Yer Tutucusu 12">
            <a:extLst>
              <a:ext uri="{FF2B5EF4-FFF2-40B4-BE49-F238E27FC236}">
                <a16:creationId xmlns:a16="http://schemas.microsoft.com/office/drawing/2014/main" id="{C3FE8F3F-F5AB-4AC4-8CCF-C5DD6B20CAEA}"/>
              </a:ext>
            </a:extLst>
          </p:cNvPr>
          <p:cNvSpPr txBox="1">
            <a:spLocks/>
          </p:cNvSpPr>
          <p:nvPr userDrawn="1"/>
        </p:nvSpPr>
        <p:spPr>
          <a:xfrm>
            <a:off x="11272058" y="6492875"/>
            <a:ext cx="892000" cy="365125"/>
          </a:xfrm>
          <a:prstGeom prst="rect">
            <a:avLst/>
          </a:prstGeom>
        </p:spPr>
        <p:txBody>
          <a:bodyPr/>
          <a:lstStyle>
            <a:defPPr>
              <a:defRPr lang="tr-TR"/>
            </a:defPPr>
            <a:lvl1pPr marL="0" algn="l" defTabSz="914400" rtl="0" eaLnBrk="1" latinLnBrk="0" hangingPunct="1">
              <a:defRPr sz="1600" kern="1200">
                <a:solidFill>
                  <a:srgbClr val="C00000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04204BE-466C-4FCD-980B-D321A1B2D829}" type="slidenum">
              <a:rPr lang="tr-TR" sz="105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  <a:pPr>
                <a:defRPr/>
              </a:pPr>
              <a:t>‹#›</a:t>
            </a:fld>
            <a:r>
              <a:rPr lang="tr-TR" sz="1050" dirty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rPr>
              <a:t>/98</a:t>
            </a:r>
            <a:endParaRPr lang="tr-T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  <a:p>
            <a:pPr>
              <a:defRPr/>
            </a:pPr>
            <a:endParaRPr lang="tr-TR" sz="1400" dirty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9308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esim 4">
            <a:extLst>
              <a:ext uri="{FF2B5EF4-FFF2-40B4-BE49-F238E27FC236}">
                <a16:creationId xmlns:a16="http://schemas.microsoft.com/office/drawing/2014/main" id="{744C5CD2-63DE-4621-8E34-52F72BB2821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Metin kutusu 6">
            <a:extLst>
              <a:ext uri="{FF2B5EF4-FFF2-40B4-BE49-F238E27FC236}">
                <a16:creationId xmlns:a16="http://schemas.microsoft.com/office/drawing/2014/main" id="{296FED01-8105-4E4C-A4EB-F2CD4320F992}"/>
              </a:ext>
            </a:extLst>
          </p:cNvPr>
          <p:cNvSpPr txBox="1"/>
          <p:nvPr/>
        </p:nvSpPr>
        <p:spPr>
          <a:xfrm>
            <a:off x="2558642" y="3036712"/>
            <a:ext cx="77346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tr-TR" sz="2800" b="1" dirty="0">
                <a:solidFill>
                  <a:prstClr val="black"/>
                </a:solidFill>
              </a:rPr>
              <a:t>Kamu İç Kontrol Standartlarına Uyum Eylem Planı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4 Yılı 2. Çeyrek Dönem Eylemleri</a:t>
            </a:r>
          </a:p>
        </p:txBody>
      </p:sp>
      <p:sp>
        <p:nvSpPr>
          <p:cNvPr id="10" name="Dikdörtgen 9">
            <a:extLst>
              <a:ext uri="{FF2B5EF4-FFF2-40B4-BE49-F238E27FC236}">
                <a16:creationId xmlns:a16="http://schemas.microsoft.com/office/drawing/2014/main" id="{FDBEAF74-CBA6-4867-B356-455C418BE28C}"/>
              </a:ext>
            </a:extLst>
          </p:cNvPr>
          <p:cNvSpPr/>
          <p:nvPr/>
        </p:nvSpPr>
        <p:spPr>
          <a:xfrm flipV="1">
            <a:off x="2756814" y="3985831"/>
            <a:ext cx="733514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Metin kutusu 10">
            <a:extLst>
              <a:ext uri="{FF2B5EF4-FFF2-40B4-BE49-F238E27FC236}">
                <a16:creationId xmlns:a16="http://schemas.microsoft.com/office/drawing/2014/main" id="{E6B461A4-F239-4096-8AB0-B0DADB334738}"/>
              </a:ext>
            </a:extLst>
          </p:cNvPr>
          <p:cNvSpPr txBox="1"/>
          <p:nvPr/>
        </p:nvSpPr>
        <p:spPr>
          <a:xfrm>
            <a:off x="3086470" y="4501344"/>
            <a:ext cx="61433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tr-TR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ÜLAY ÇEC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ç Kontrol Dairesi Başkanlığı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İzleme ve Değerlendirme Birim Sorumlusu</a:t>
            </a:r>
          </a:p>
        </p:txBody>
      </p:sp>
      <p:sp>
        <p:nvSpPr>
          <p:cNvPr id="14" name="Slayt Numarası Yer Tutucusu 13">
            <a:extLst>
              <a:ext uri="{FF2B5EF4-FFF2-40B4-BE49-F238E27FC236}">
                <a16:creationId xmlns:a16="http://schemas.microsoft.com/office/drawing/2014/main" id="{F9D9688D-7540-439D-BC93-57ECB25F46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CAA5CE-A41E-4853-8514-B4F0214A8066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tr-T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Dikdörtgen 11">
            <a:extLst>
              <a:ext uri="{FF2B5EF4-FFF2-40B4-BE49-F238E27FC236}">
                <a16:creationId xmlns:a16="http://schemas.microsoft.com/office/drawing/2014/main" id="{6E89A248-F6C5-4FC6-BDAF-B9BD85E53B6C}"/>
              </a:ext>
            </a:extLst>
          </p:cNvPr>
          <p:cNvSpPr/>
          <p:nvPr/>
        </p:nvSpPr>
        <p:spPr>
          <a:xfrm flipV="1">
            <a:off x="2741434" y="2946993"/>
            <a:ext cx="7335141" cy="457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r-T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42556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304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3259A052-F1C7-4DA6-BEB4-48FC713BAAA1}"/>
              </a:ext>
            </a:extLst>
          </p:cNvPr>
          <p:cNvSpPr/>
          <p:nvPr/>
        </p:nvSpPr>
        <p:spPr>
          <a:xfrm>
            <a:off x="9434884" y="2068626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Isosceles Triangle 24">
            <a:extLst>
              <a:ext uri="{FF2B5EF4-FFF2-40B4-BE49-F238E27FC236}">
                <a16:creationId xmlns:a16="http://schemas.microsoft.com/office/drawing/2014/main" id="{3C8C4142-4A7D-468F-A297-4F8143D6A9F0}"/>
              </a:ext>
            </a:extLst>
          </p:cNvPr>
          <p:cNvSpPr/>
          <p:nvPr/>
        </p:nvSpPr>
        <p:spPr>
          <a:xfrm rot="10800000">
            <a:off x="6838422" y="3458562"/>
            <a:ext cx="532959" cy="402681"/>
          </a:xfrm>
          <a:prstGeom prst="triangl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0AD47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A6799D9-5A5B-49F5-8F47-4F2D29F4E424}"/>
              </a:ext>
            </a:extLst>
          </p:cNvPr>
          <p:cNvSpPr/>
          <p:nvPr/>
        </p:nvSpPr>
        <p:spPr>
          <a:xfrm>
            <a:off x="7901419" y="1473200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94AA5AB-7776-4D8A-BFE6-743A9E899BEC}"/>
              </a:ext>
            </a:extLst>
          </p:cNvPr>
          <p:cNvSpPr/>
          <p:nvPr/>
        </p:nvSpPr>
        <p:spPr>
          <a:xfrm>
            <a:off x="5916550" y="994981"/>
            <a:ext cx="2509200" cy="22356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>
                <a:solidFill>
                  <a:schemeClr val="tx1"/>
                </a:solidFill>
              </a:rPr>
              <a:t>  </a:t>
            </a:r>
            <a:r>
              <a:rPr lang="tr-TR" sz="2800" b="1" dirty="0">
                <a:solidFill>
                  <a:schemeClr val="tx1"/>
                </a:solidFill>
              </a:rPr>
              <a:t>Sorumlu Birim</a:t>
            </a:r>
            <a:endParaRPr lang="tr-TR" sz="1900" b="1" dirty="0">
              <a:solidFill>
                <a:schemeClr val="tx1"/>
              </a:solidFill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34A6A553-4213-42E5-8321-C95A112E569C}"/>
              </a:ext>
            </a:extLst>
          </p:cNvPr>
          <p:cNvSpPr/>
          <p:nvPr/>
        </p:nvSpPr>
        <p:spPr>
          <a:xfrm>
            <a:off x="4542742" y="135230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b="1" dirty="0">
                <a:solidFill>
                  <a:schemeClr val="tx1"/>
                </a:solidFill>
              </a:rPr>
              <a:t>     </a:t>
            </a:r>
            <a:r>
              <a:rPr lang="tr-TR" sz="1600" b="1" dirty="0">
                <a:solidFill>
                  <a:schemeClr val="tx1"/>
                </a:solidFill>
              </a:rPr>
              <a:t>EYLEM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39AF20C5-DEC9-446A-A3C3-9C5FA50B8DDA}"/>
              </a:ext>
            </a:extLst>
          </p:cNvPr>
          <p:cNvSpPr/>
          <p:nvPr/>
        </p:nvSpPr>
        <p:spPr>
          <a:xfrm>
            <a:off x="2887001" y="189283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tx1"/>
                </a:solidFill>
              </a:rPr>
              <a:t>GENEL ŞART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5184454-B6A3-435B-9F41-B5F30E4ADEEB}"/>
              </a:ext>
            </a:extLst>
          </p:cNvPr>
          <p:cNvSpPr/>
          <p:nvPr/>
        </p:nvSpPr>
        <p:spPr>
          <a:xfrm>
            <a:off x="1207886" y="2472783"/>
            <a:ext cx="1720353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2" name="Dikdörtgen: Yuvarlatılmış Köşeler 41">
            <a:extLst>
              <a:ext uri="{FF2B5EF4-FFF2-40B4-BE49-F238E27FC236}">
                <a16:creationId xmlns:a16="http://schemas.microsoft.com/office/drawing/2014/main" id="{DA449B1B-2A4E-4820-835D-DD59D9EC319E}"/>
              </a:ext>
            </a:extLst>
          </p:cNvPr>
          <p:cNvSpPr/>
          <p:nvPr/>
        </p:nvSpPr>
        <p:spPr>
          <a:xfrm>
            <a:off x="5157112" y="3956589"/>
            <a:ext cx="4029758" cy="843909"/>
          </a:xfrm>
          <a:prstGeom prst="roundRect">
            <a:avLst/>
          </a:prstGeom>
          <a:solidFill>
            <a:srgbClr val="70AD47"/>
          </a:solidFill>
          <a:ln>
            <a:solidFill>
              <a:srgbClr val="70AD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bg1"/>
                </a:solidFill>
              </a:rPr>
              <a:t>Merkez Birimler/İl Sağlık Müdürlükleri</a:t>
            </a:r>
          </a:p>
        </p:txBody>
      </p:sp>
      <p:sp>
        <p:nvSpPr>
          <p:cNvPr id="45" name="Konuşma Balonu: Oval 44">
            <a:extLst>
              <a:ext uri="{FF2B5EF4-FFF2-40B4-BE49-F238E27FC236}">
                <a16:creationId xmlns:a16="http://schemas.microsoft.com/office/drawing/2014/main" id="{11DDDED0-AB9B-4E3C-B519-C57A0C722C82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6464348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304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B636709D-806B-453C-A3B7-04EFD77E5690}"/>
              </a:ext>
            </a:extLst>
          </p:cNvPr>
          <p:cNvSpPr/>
          <p:nvPr/>
        </p:nvSpPr>
        <p:spPr>
          <a:xfrm>
            <a:off x="9766527" y="1499237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24">
            <a:extLst>
              <a:ext uri="{FF2B5EF4-FFF2-40B4-BE49-F238E27FC236}">
                <a16:creationId xmlns:a16="http://schemas.microsoft.com/office/drawing/2014/main" id="{8E7B1DD1-CF79-4753-B92B-4BF209118E26}"/>
              </a:ext>
            </a:extLst>
          </p:cNvPr>
          <p:cNvSpPr/>
          <p:nvPr/>
        </p:nvSpPr>
        <p:spPr>
          <a:xfrm rot="10800000">
            <a:off x="8451591" y="3308787"/>
            <a:ext cx="532959" cy="402681"/>
          </a:xfrm>
          <a:prstGeom prst="triangle">
            <a:avLst/>
          </a:prstGeom>
          <a:solidFill>
            <a:srgbClr val="FD8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0AD47"/>
              </a:solidFill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DA4C522E-6FA1-497F-8CE4-708C48078FA1}"/>
              </a:ext>
            </a:extLst>
          </p:cNvPr>
          <p:cNvSpPr/>
          <p:nvPr/>
        </p:nvSpPr>
        <p:spPr>
          <a:xfrm>
            <a:off x="7415700" y="820204"/>
            <a:ext cx="2509200" cy="22356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2400" b="1" dirty="0">
                <a:solidFill>
                  <a:schemeClr val="tx1"/>
                </a:solidFill>
              </a:rPr>
              <a:t>Eylem Çıktısı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6CE70FF-9AC5-4463-8E84-DB4CD8B61AFB}"/>
              </a:ext>
            </a:extLst>
          </p:cNvPr>
          <p:cNvSpPr/>
          <p:nvPr/>
        </p:nvSpPr>
        <p:spPr>
          <a:xfrm>
            <a:off x="5859550" y="117465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orumlu Birim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704C0B6E-3EB1-47A6-8FCE-0B30024AB5BD}"/>
              </a:ext>
            </a:extLst>
          </p:cNvPr>
          <p:cNvSpPr/>
          <p:nvPr/>
        </p:nvSpPr>
        <p:spPr>
          <a:xfrm>
            <a:off x="4199842" y="182220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b="1" dirty="0">
                <a:solidFill>
                  <a:schemeClr val="tx1"/>
                </a:solidFill>
              </a:rPr>
              <a:t>     </a:t>
            </a:r>
            <a:r>
              <a:rPr lang="tr-TR" sz="1600" b="1" dirty="0">
                <a:solidFill>
                  <a:schemeClr val="tx1"/>
                </a:solidFill>
              </a:rPr>
              <a:t>EYLEM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16EFCF39-4D95-4BF6-B5A1-60D2D3C16911}"/>
              </a:ext>
            </a:extLst>
          </p:cNvPr>
          <p:cNvSpPr/>
          <p:nvPr/>
        </p:nvSpPr>
        <p:spPr>
          <a:xfrm>
            <a:off x="2570970" y="240796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tx1"/>
                </a:solidFill>
              </a:rPr>
              <a:t>GENEL ŞART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8831CC4A-8D15-402A-B54C-0D0824359EB4}"/>
              </a:ext>
            </a:extLst>
          </p:cNvPr>
          <p:cNvSpPr/>
          <p:nvPr/>
        </p:nvSpPr>
        <p:spPr>
          <a:xfrm>
            <a:off x="919461" y="3017030"/>
            <a:ext cx="1720353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4" name="Dikdörtgen: Yuvarlatılmış Köşeler 43">
            <a:extLst>
              <a:ext uri="{FF2B5EF4-FFF2-40B4-BE49-F238E27FC236}">
                <a16:creationId xmlns:a16="http://schemas.microsoft.com/office/drawing/2014/main" id="{089C620E-7E72-4453-93C6-9DF82CFC10DA}"/>
              </a:ext>
            </a:extLst>
          </p:cNvPr>
          <p:cNvSpPr/>
          <p:nvPr/>
        </p:nvSpPr>
        <p:spPr>
          <a:xfrm>
            <a:off x="6992439" y="3753742"/>
            <a:ext cx="3560961" cy="843909"/>
          </a:xfrm>
          <a:prstGeom prst="roundRect">
            <a:avLst/>
          </a:prstGeom>
          <a:solidFill>
            <a:srgbClr val="FD8003"/>
          </a:solidFill>
          <a:ln>
            <a:solidFill>
              <a:srgbClr val="FD8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dirty="0">
                <a:solidFill>
                  <a:schemeClr val="bg1"/>
                </a:solidFill>
              </a:rPr>
              <a:t>Belirlenen Etik Sloganın (Mesaj) Gönderildiği resmi yazı / e-Posta Görseli ve İçeriği</a:t>
            </a:r>
          </a:p>
        </p:txBody>
      </p:sp>
      <p:sp>
        <p:nvSpPr>
          <p:cNvPr id="45" name="Konuşma Balonu: Oval 44">
            <a:extLst>
              <a:ext uri="{FF2B5EF4-FFF2-40B4-BE49-F238E27FC236}">
                <a16:creationId xmlns:a16="http://schemas.microsoft.com/office/drawing/2014/main" id="{AD2D8C06-A268-46AA-9C31-86E7AAF9F3FE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3967892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304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2A388F16-1213-4AAF-8707-C77822A91A3E}"/>
              </a:ext>
            </a:extLst>
          </p:cNvPr>
          <p:cNvSpPr/>
          <p:nvPr/>
        </p:nvSpPr>
        <p:spPr>
          <a:xfrm>
            <a:off x="9178966" y="763054"/>
            <a:ext cx="2509200" cy="22356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2000" b="1" dirty="0">
                <a:solidFill>
                  <a:schemeClr val="tx1"/>
                </a:solidFill>
              </a:rPr>
              <a:t>Eylem Dönemi</a:t>
            </a:r>
          </a:p>
        </p:txBody>
      </p:sp>
      <p:sp>
        <p:nvSpPr>
          <p:cNvPr id="31" name="Isosceles Triangle 24">
            <a:extLst>
              <a:ext uri="{FF2B5EF4-FFF2-40B4-BE49-F238E27FC236}">
                <a16:creationId xmlns:a16="http://schemas.microsoft.com/office/drawing/2014/main" id="{27224900-3910-4A7C-9FC7-A61301974784}"/>
              </a:ext>
            </a:extLst>
          </p:cNvPr>
          <p:cNvSpPr/>
          <p:nvPr/>
        </p:nvSpPr>
        <p:spPr>
          <a:xfrm rot="10800000">
            <a:off x="10207188" y="3234931"/>
            <a:ext cx="532959" cy="402681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0AD47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080E3D3-C6DC-4310-A5DB-32DECC9D8A6F}"/>
              </a:ext>
            </a:extLst>
          </p:cNvPr>
          <p:cNvSpPr/>
          <p:nvPr/>
        </p:nvSpPr>
        <p:spPr>
          <a:xfrm>
            <a:off x="7519258" y="118200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Eylem Çıktısı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5BAFC7D-ACF1-4A76-B34A-91523EAFC69A}"/>
              </a:ext>
            </a:extLst>
          </p:cNvPr>
          <p:cNvSpPr/>
          <p:nvPr/>
        </p:nvSpPr>
        <p:spPr>
          <a:xfrm>
            <a:off x="5834150" y="161915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orumlu Birim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5AD64E8-F204-4888-A9CB-A1314FF98C0E}"/>
              </a:ext>
            </a:extLst>
          </p:cNvPr>
          <p:cNvSpPr/>
          <p:nvPr/>
        </p:nvSpPr>
        <p:spPr>
          <a:xfrm>
            <a:off x="4149042" y="196190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b="1" dirty="0">
                <a:solidFill>
                  <a:schemeClr val="tx1"/>
                </a:solidFill>
              </a:rPr>
              <a:t>     </a:t>
            </a:r>
            <a:r>
              <a:rPr lang="tr-TR" sz="1600" b="1" dirty="0">
                <a:solidFill>
                  <a:schemeClr val="tx1"/>
                </a:solidFill>
              </a:rPr>
              <a:t>EYLEM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3643EC0-6B2F-4C98-89EF-8706DC1E8369}"/>
              </a:ext>
            </a:extLst>
          </p:cNvPr>
          <p:cNvSpPr/>
          <p:nvPr/>
        </p:nvSpPr>
        <p:spPr>
          <a:xfrm>
            <a:off x="2494770" y="235716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tx1"/>
                </a:solidFill>
              </a:rPr>
              <a:t>GENEL ŞART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C926476-38A4-4245-8D48-102AECC18AAE}"/>
              </a:ext>
            </a:extLst>
          </p:cNvPr>
          <p:cNvSpPr/>
          <p:nvPr/>
        </p:nvSpPr>
        <p:spPr>
          <a:xfrm>
            <a:off x="830561" y="2750330"/>
            <a:ext cx="1720353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2" name="Dikdörtgen: Yuvarlatılmış Köşeler 41">
            <a:extLst>
              <a:ext uri="{FF2B5EF4-FFF2-40B4-BE49-F238E27FC236}">
                <a16:creationId xmlns:a16="http://schemas.microsoft.com/office/drawing/2014/main" id="{7E1DB5B3-43FD-46A3-99EB-46DE23DC4312}"/>
              </a:ext>
            </a:extLst>
          </p:cNvPr>
          <p:cNvSpPr/>
          <p:nvPr/>
        </p:nvSpPr>
        <p:spPr>
          <a:xfrm>
            <a:off x="9269349" y="3654422"/>
            <a:ext cx="2509201" cy="843909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45" name="Konuşma Balonu: Oval 44">
            <a:extLst>
              <a:ext uri="{FF2B5EF4-FFF2-40B4-BE49-F238E27FC236}">
                <a16:creationId xmlns:a16="http://schemas.microsoft.com/office/drawing/2014/main" id="{043A3371-DE18-4161-80D7-4E474E1FBCB4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9774690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431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2A388F16-1213-4AAF-8707-C77822A91A3E}"/>
              </a:ext>
            </a:extLst>
          </p:cNvPr>
          <p:cNvSpPr/>
          <p:nvPr/>
        </p:nvSpPr>
        <p:spPr>
          <a:xfrm>
            <a:off x="9214933" y="103819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2000" b="1" dirty="0">
                <a:solidFill>
                  <a:schemeClr val="tx1"/>
                </a:solidFill>
              </a:rPr>
              <a:t>Eylem Dönemi</a:t>
            </a:r>
          </a:p>
        </p:txBody>
      </p:sp>
      <p:sp>
        <p:nvSpPr>
          <p:cNvPr id="31" name="Isosceles Triangle 24">
            <a:extLst>
              <a:ext uri="{FF2B5EF4-FFF2-40B4-BE49-F238E27FC236}">
                <a16:creationId xmlns:a16="http://schemas.microsoft.com/office/drawing/2014/main" id="{27224900-3910-4A7C-9FC7-A61301974784}"/>
              </a:ext>
            </a:extLst>
          </p:cNvPr>
          <p:cNvSpPr/>
          <p:nvPr/>
        </p:nvSpPr>
        <p:spPr>
          <a:xfrm rot="9260910">
            <a:off x="10485252" y="2634909"/>
            <a:ext cx="532959" cy="959130"/>
          </a:xfrm>
          <a:prstGeom prst="triangle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0AD47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E080E3D3-C6DC-4310-A5DB-32DECC9D8A6F}"/>
              </a:ext>
            </a:extLst>
          </p:cNvPr>
          <p:cNvSpPr/>
          <p:nvPr/>
        </p:nvSpPr>
        <p:spPr>
          <a:xfrm>
            <a:off x="7519258" y="105500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Eylem Çıktısı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25BAFC7D-ACF1-4A76-B34A-91523EAFC69A}"/>
              </a:ext>
            </a:extLst>
          </p:cNvPr>
          <p:cNvSpPr/>
          <p:nvPr/>
        </p:nvSpPr>
        <p:spPr>
          <a:xfrm>
            <a:off x="5859550" y="100955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orumlu Birim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5AD64E8-F204-4888-A9CB-A1314FF98C0E}"/>
              </a:ext>
            </a:extLst>
          </p:cNvPr>
          <p:cNvSpPr/>
          <p:nvPr/>
        </p:nvSpPr>
        <p:spPr>
          <a:xfrm>
            <a:off x="4199842" y="106020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b="1" dirty="0">
                <a:solidFill>
                  <a:schemeClr val="tx1"/>
                </a:solidFill>
              </a:rPr>
              <a:t>     </a:t>
            </a:r>
            <a:r>
              <a:rPr lang="tr-TR" sz="1600" b="1" dirty="0">
                <a:solidFill>
                  <a:schemeClr val="tx1"/>
                </a:solidFill>
              </a:rPr>
              <a:t>EYLEM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13643EC0-6B2F-4C98-89EF-8706DC1E8369}"/>
              </a:ext>
            </a:extLst>
          </p:cNvPr>
          <p:cNvSpPr/>
          <p:nvPr/>
        </p:nvSpPr>
        <p:spPr>
          <a:xfrm>
            <a:off x="2570970" y="1061764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tx1"/>
                </a:solidFill>
              </a:rPr>
              <a:t>GENEL ŞART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7C926476-38A4-4245-8D48-102AECC18AAE}"/>
              </a:ext>
            </a:extLst>
          </p:cNvPr>
          <p:cNvSpPr/>
          <p:nvPr/>
        </p:nvSpPr>
        <p:spPr>
          <a:xfrm>
            <a:off x="767061" y="1061230"/>
            <a:ext cx="1720353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2" name="Dikdörtgen: Yuvarlatılmış Köşeler 41">
            <a:extLst>
              <a:ext uri="{FF2B5EF4-FFF2-40B4-BE49-F238E27FC236}">
                <a16:creationId xmlns:a16="http://schemas.microsoft.com/office/drawing/2014/main" id="{7E1DB5B3-43FD-46A3-99EB-46DE23DC4312}"/>
              </a:ext>
            </a:extLst>
          </p:cNvPr>
          <p:cNvSpPr/>
          <p:nvPr/>
        </p:nvSpPr>
        <p:spPr>
          <a:xfrm>
            <a:off x="9864000" y="3473265"/>
            <a:ext cx="2266589" cy="572795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30" name="Isosceles Triangle 24">
            <a:extLst>
              <a:ext uri="{FF2B5EF4-FFF2-40B4-BE49-F238E27FC236}">
                <a16:creationId xmlns:a16="http://schemas.microsoft.com/office/drawing/2014/main" id="{22689380-AB57-4D26-9E17-E9CB3D54A495}"/>
              </a:ext>
            </a:extLst>
          </p:cNvPr>
          <p:cNvSpPr/>
          <p:nvPr/>
        </p:nvSpPr>
        <p:spPr>
          <a:xfrm rot="9065366">
            <a:off x="8787592" y="2525325"/>
            <a:ext cx="532959" cy="1764000"/>
          </a:xfrm>
          <a:prstGeom prst="triangle">
            <a:avLst/>
          </a:prstGeom>
          <a:solidFill>
            <a:srgbClr val="FD80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0AD47"/>
              </a:solidFill>
            </a:endParaRPr>
          </a:p>
        </p:txBody>
      </p:sp>
      <p:sp>
        <p:nvSpPr>
          <p:cNvPr id="34" name="Dikdörtgen: Yuvarlatılmış Köşeler 33">
            <a:extLst>
              <a:ext uri="{FF2B5EF4-FFF2-40B4-BE49-F238E27FC236}">
                <a16:creationId xmlns:a16="http://schemas.microsoft.com/office/drawing/2014/main" id="{D8770819-8C03-4371-9F23-DE8FC8CA1D53}"/>
              </a:ext>
            </a:extLst>
          </p:cNvPr>
          <p:cNvSpPr/>
          <p:nvPr/>
        </p:nvSpPr>
        <p:spPr>
          <a:xfrm>
            <a:off x="8468419" y="4193972"/>
            <a:ext cx="3560961" cy="593740"/>
          </a:xfrm>
          <a:prstGeom prst="roundRect">
            <a:avLst/>
          </a:prstGeom>
          <a:solidFill>
            <a:srgbClr val="FD8003"/>
          </a:solidFill>
          <a:ln>
            <a:solidFill>
              <a:srgbClr val="FD800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dirty="0">
                <a:solidFill>
                  <a:schemeClr val="bg1"/>
                </a:solidFill>
              </a:rPr>
              <a:t>Belirlenen Etik Sloganın (Mesaj) Gönderildiği resmi yazı / e-Posta Görseli ve İçeriği</a:t>
            </a:r>
          </a:p>
        </p:txBody>
      </p:sp>
      <p:sp>
        <p:nvSpPr>
          <p:cNvPr id="35" name="Isosceles Triangle 24">
            <a:extLst>
              <a:ext uri="{FF2B5EF4-FFF2-40B4-BE49-F238E27FC236}">
                <a16:creationId xmlns:a16="http://schemas.microsoft.com/office/drawing/2014/main" id="{4C0C8A27-61DC-426C-A864-A002593F3626}"/>
              </a:ext>
            </a:extLst>
          </p:cNvPr>
          <p:cNvSpPr/>
          <p:nvPr/>
        </p:nvSpPr>
        <p:spPr>
          <a:xfrm rot="8885709">
            <a:off x="7783413" y="2391150"/>
            <a:ext cx="532959" cy="3600000"/>
          </a:xfrm>
          <a:prstGeom prst="triangle">
            <a:avLst/>
          </a:prstGeom>
          <a:solidFill>
            <a:srgbClr val="70AD4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70AD47"/>
              </a:solidFill>
            </a:endParaRPr>
          </a:p>
        </p:txBody>
      </p:sp>
      <p:sp>
        <p:nvSpPr>
          <p:cNvPr id="36" name="Dikdörtgen: Yuvarlatılmış Köşeler 35">
            <a:extLst>
              <a:ext uri="{FF2B5EF4-FFF2-40B4-BE49-F238E27FC236}">
                <a16:creationId xmlns:a16="http://schemas.microsoft.com/office/drawing/2014/main" id="{2110601E-78C3-4D90-9F48-4ACBCED0E9DD}"/>
              </a:ext>
            </a:extLst>
          </p:cNvPr>
          <p:cNvSpPr/>
          <p:nvPr/>
        </p:nvSpPr>
        <p:spPr>
          <a:xfrm>
            <a:off x="8043376" y="5571153"/>
            <a:ext cx="2135768" cy="551687"/>
          </a:xfrm>
          <a:prstGeom prst="roundRect">
            <a:avLst/>
          </a:prstGeom>
          <a:solidFill>
            <a:srgbClr val="70AD47"/>
          </a:solidFill>
          <a:ln>
            <a:solidFill>
              <a:srgbClr val="70AD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bg1"/>
                </a:solidFill>
              </a:rPr>
              <a:t>Merkez Birimler/</a:t>
            </a:r>
          </a:p>
          <a:p>
            <a:r>
              <a:rPr lang="tr-TR" sz="1600" b="1" dirty="0">
                <a:solidFill>
                  <a:schemeClr val="bg1"/>
                </a:solidFill>
              </a:rPr>
              <a:t>İl Sağlık Müdürlükleri</a:t>
            </a:r>
          </a:p>
        </p:txBody>
      </p:sp>
      <p:sp>
        <p:nvSpPr>
          <p:cNvPr id="37" name="Isosceles Triangle 24">
            <a:extLst>
              <a:ext uri="{FF2B5EF4-FFF2-40B4-BE49-F238E27FC236}">
                <a16:creationId xmlns:a16="http://schemas.microsoft.com/office/drawing/2014/main" id="{CD33C004-E64D-4DD9-B293-D6CDD0670DB9}"/>
              </a:ext>
            </a:extLst>
          </p:cNvPr>
          <p:cNvSpPr/>
          <p:nvPr/>
        </p:nvSpPr>
        <p:spPr>
          <a:xfrm rot="10014118">
            <a:off x="5207549" y="2572153"/>
            <a:ext cx="532959" cy="1836000"/>
          </a:xfrm>
          <a:prstGeom prst="triangle">
            <a:avLst>
              <a:gd name="adj" fmla="val 54766"/>
            </a:avLst>
          </a:prstGeom>
          <a:solidFill>
            <a:srgbClr val="B72F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Dikdörtgen: Yuvarlatılmış Köşeler 37">
            <a:extLst>
              <a:ext uri="{FF2B5EF4-FFF2-40B4-BE49-F238E27FC236}">
                <a16:creationId xmlns:a16="http://schemas.microsoft.com/office/drawing/2014/main" id="{E69B9850-7F1D-49B3-90F4-3F2D752B51E4}"/>
              </a:ext>
            </a:extLst>
          </p:cNvPr>
          <p:cNvSpPr/>
          <p:nvPr/>
        </p:nvSpPr>
        <p:spPr>
          <a:xfrm>
            <a:off x="3621189" y="4274451"/>
            <a:ext cx="4368803" cy="937325"/>
          </a:xfrm>
          <a:prstGeom prst="roundRect">
            <a:avLst/>
          </a:prstGeom>
          <a:solidFill>
            <a:srgbClr val="B72F9A"/>
          </a:solidFill>
          <a:ln>
            <a:solidFill>
              <a:srgbClr val="B72F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u="sng" dirty="0">
                <a:solidFill>
                  <a:schemeClr val="bg1"/>
                </a:solidFill>
              </a:rPr>
              <a:t>E.1.3.2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Harcama Birimi düzeyinde Etik Davranış İlkeleri doğrultusunda "Etik Slogan (Mesaj)" belirlenerek tüm personele resmi yazı / e-Posta olarak gönderilmesi.</a:t>
            </a:r>
          </a:p>
        </p:txBody>
      </p:sp>
      <p:sp>
        <p:nvSpPr>
          <p:cNvPr id="43" name="Isosceles Triangle 24">
            <a:extLst>
              <a:ext uri="{FF2B5EF4-FFF2-40B4-BE49-F238E27FC236}">
                <a16:creationId xmlns:a16="http://schemas.microsoft.com/office/drawing/2014/main" id="{DE9C185C-4D3F-4CC7-94B5-3D393B92D95D}"/>
              </a:ext>
            </a:extLst>
          </p:cNvPr>
          <p:cNvSpPr/>
          <p:nvPr/>
        </p:nvSpPr>
        <p:spPr>
          <a:xfrm rot="10800000">
            <a:off x="3179760" y="2645972"/>
            <a:ext cx="532959" cy="2844000"/>
          </a:xfrm>
          <a:prstGeom prst="triangl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Dikdörtgen: Yuvarlatılmış Köşeler 43">
            <a:extLst>
              <a:ext uri="{FF2B5EF4-FFF2-40B4-BE49-F238E27FC236}">
                <a16:creationId xmlns:a16="http://schemas.microsoft.com/office/drawing/2014/main" id="{DD421B8E-D3C1-4D18-8208-C5DF7E765BD5}"/>
              </a:ext>
            </a:extLst>
          </p:cNvPr>
          <p:cNvSpPr/>
          <p:nvPr/>
        </p:nvSpPr>
        <p:spPr>
          <a:xfrm>
            <a:off x="2260253" y="5391591"/>
            <a:ext cx="3303375" cy="971188"/>
          </a:xfrm>
          <a:prstGeom prst="round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u="sng" dirty="0">
                <a:solidFill>
                  <a:schemeClr val="bg1"/>
                </a:solidFill>
              </a:rPr>
              <a:t>KOS-1.3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Etik kurallar bilinmeli ve tüm faaliyetlerde bu kurallara uyulmalıdır</a:t>
            </a:r>
          </a:p>
        </p:txBody>
      </p:sp>
      <p:sp>
        <p:nvSpPr>
          <p:cNvPr id="45" name="Isosceles Triangle 24">
            <a:extLst>
              <a:ext uri="{FF2B5EF4-FFF2-40B4-BE49-F238E27FC236}">
                <a16:creationId xmlns:a16="http://schemas.microsoft.com/office/drawing/2014/main" id="{6B60D498-5983-472C-9647-E55F66136161}"/>
              </a:ext>
            </a:extLst>
          </p:cNvPr>
          <p:cNvSpPr/>
          <p:nvPr/>
        </p:nvSpPr>
        <p:spPr>
          <a:xfrm rot="10800000">
            <a:off x="1322438" y="2662079"/>
            <a:ext cx="532959" cy="1080000"/>
          </a:xfrm>
          <a:prstGeom prst="triangle">
            <a:avLst/>
          </a:prstGeom>
          <a:solidFill>
            <a:srgbClr val="F9B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Dikdörtgen: Yuvarlatılmış Köşeler 45">
            <a:extLst>
              <a:ext uri="{FF2B5EF4-FFF2-40B4-BE49-F238E27FC236}">
                <a16:creationId xmlns:a16="http://schemas.microsoft.com/office/drawing/2014/main" id="{E32DACF4-2111-4D31-92F9-1B4CE641C99D}"/>
              </a:ext>
            </a:extLst>
          </p:cNvPr>
          <p:cNvSpPr/>
          <p:nvPr/>
        </p:nvSpPr>
        <p:spPr>
          <a:xfrm>
            <a:off x="78042" y="3663832"/>
            <a:ext cx="3098390" cy="1157300"/>
          </a:xfrm>
          <a:prstGeom prst="roundRect">
            <a:avLst/>
          </a:prstGeom>
          <a:solidFill>
            <a:srgbClr val="F9B201"/>
          </a:solidFill>
          <a:ln>
            <a:solidFill>
              <a:srgbClr val="F9B2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>
                <a:solidFill>
                  <a:schemeClr val="tx1"/>
                </a:solidFill>
              </a:rPr>
              <a:t>KOS-1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Etik Değerler ve Dürüstlük: Personel davranışlarını belirleyen kuralların personel tarafından bilinmesi sağlanmalıdır.</a:t>
            </a:r>
          </a:p>
        </p:txBody>
      </p: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79884665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-26877" y="6879719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KOS 2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7730" y="7534729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KOS 2.4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32039" y="8603268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194847" y="7804041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94848" y="8650857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832558" y="7804041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B89E3F90-D86E-4D93-AD2B-DB84298039AE}"/>
              </a:ext>
            </a:extLst>
          </p:cNvPr>
          <p:cNvSpPr/>
          <p:nvPr/>
        </p:nvSpPr>
        <p:spPr>
          <a:xfrm>
            <a:off x="4824853" y="1803941"/>
            <a:ext cx="3077406" cy="2081315"/>
          </a:xfrm>
          <a:prstGeom prst="ellips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52" name="Dikdörtgen 51">
            <a:extLst>
              <a:ext uri="{FF2B5EF4-FFF2-40B4-BE49-F238E27FC236}">
                <a16:creationId xmlns:a16="http://schemas.microsoft.com/office/drawing/2014/main" id="{B3E91980-1B83-4D21-BE5B-0DD232942446}"/>
              </a:ext>
            </a:extLst>
          </p:cNvPr>
          <p:cNvSpPr/>
          <p:nvPr/>
        </p:nvSpPr>
        <p:spPr>
          <a:xfrm>
            <a:off x="5349139" y="2596675"/>
            <a:ext cx="20288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tr-TR" sz="2800" b="1" dirty="0">
                <a:solidFill>
                  <a:schemeClr val="tx1"/>
                </a:solidFill>
              </a:rPr>
              <a:t>E.2.4.1</a:t>
            </a:r>
          </a:p>
        </p:txBody>
      </p:sp>
    </p:spTree>
    <p:extLst>
      <p:ext uri="{BB962C8B-B14F-4D97-AF65-F5344CB8AC3E}">
        <p14:creationId xmlns:p14="http://schemas.microsoft.com/office/powerpoint/2010/main" val="18585323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61427" y="1132491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 err="1">
                <a:solidFill>
                  <a:schemeClr val="bg1"/>
                </a:solidFill>
              </a:rPr>
              <a:t>Strnadart</a:t>
            </a:r>
            <a:r>
              <a:rPr lang="tr-TR" sz="1400" b="1" u="sng" dirty="0">
                <a:solidFill>
                  <a:schemeClr val="bg1"/>
                </a:solidFill>
              </a:rPr>
              <a:t> (KOS-2)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7730" y="7534729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KOS 2.4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32039" y="8603268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194847" y="7804041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94848" y="8650857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832558" y="7804041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</p:spTree>
    <p:extLst>
      <p:ext uri="{BB962C8B-B14F-4D97-AF65-F5344CB8AC3E}">
        <p14:creationId xmlns:p14="http://schemas.microsoft.com/office/powerpoint/2010/main" val="138312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61427" y="1132491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 err="1">
                <a:solidFill>
                  <a:schemeClr val="bg1"/>
                </a:solidFill>
              </a:rPr>
              <a:t>Strnadart</a:t>
            </a:r>
            <a:r>
              <a:rPr lang="tr-TR" sz="1400" b="1" u="sng" dirty="0">
                <a:solidFill>
                  <a:schemeClr val="bg1"/>
                </a:solidFill>
              </a:rPr>
              <a:t> (KOS-2)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4165" y="1816880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Genel Şart (KOS 2.4)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32039" y="8603268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194847" y="7804041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94848" y="8650857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832558" y="7804041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</p:spTree>
    <p:extLst>
      <p:ext uri="{BB962C8B-B14F-4D97-AF65-F5344CB8AC3E}">
        <p14:creationId xmlns:p14="http://schemas.microsoft.com/office/powerpoint/2010/main" val="318299082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61427" y="1132491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 err="1">
                <a:solidFill>
                  <a:schemeClr val="bg1"/>
                </a:solidFill>
              </a:rPr>
              <a:t>Strnadart</a:t>
            </a:r>
            <a:r>
              <a:rPr lang="tr-TR" sz="1400" b="1" u="sng" dirty="0">
                <a:solidFill>
                  <a:schemeClr val="bg1"/>
                </a:solidFill>
              </a:rPr>
              <a:t> (KOS-2)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4165" y="1860422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Genel Şart (KOS 2.4)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64166" y="2856040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ylem:</a:t>
            </a:r>
            <a:r>
              <a:rPr lang="tr-TR" sz="1400" dirty="0"/>
              <a:t> </a:t>
            </a:r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194847" y="7804041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94848" y="8650857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832558" y="7804041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</p:spTree>
    <p:extLst>
      <p:ext uri="{BB962C8B-B14F-4D97-AF65-F5344CB8AC3E}">
        <p14:creationId xmlns:p14="http://schemas.microsoft.com/office/powerpoint/2010/main" val="393982563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61427" y="1132491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 err="1">
                <a:solidFill>
                  <a:schemeClr val="bg1"/>
                </a:solidFill>
              </a:rPr>
              <a:t>Strnadart</a:t>
            </a:r>
            <a:r>
              <a:rPr lang="tr-TR" sz="1400" b="1" u="sng" dirty="0">
                <a:solidFill>
                  <a:schemeClr val="bg1"/>
                </a:solidFill>
              </a:rPr>
              <a:t> (KOS-2)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4165" y="1860422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Genel Şart (KOS 2.4)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64166" y="2856040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ylem:</a:t>
            </a:r>
            <a:r>
              <a:rPr lang="tr-TR" sz="1400" dirty="0"/>
              <a:t> </a:t>
            </a:r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096000" y="3071484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94848" y="8650857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832558" y="7804041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</p:spTree>
    <p:extLst>
      <p:ext uri="{BB962C8B-B14F-4D97-AF65-F5344CB8AC3E}">
        <p14:creationId xmlns:p14="http://schemas.microsoft.com/office/powerpoint/2010/main" val="37725184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61427" y="1132491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 err="1">
                <a:solidFill>
                  <a:schemeClr val="bg1"/>
                </a:solidFill>
              </a:rPr>
              <a:t>Strnadart</a:t>
            </a:r>
            <a:r>
              <a:rPr lang="tr-TR" sz="1400" b="1" u="sng" dirty="0">
                <a:solidFill>
                  <a:schemeClr val="bg1"/>
                </a:solidFill>
              </a:rPr>
              <a:t> (KOS-2)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4165" y="1860422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Genel Şart (KOS 2.4)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64166" y="2856040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ylem:</a:t>
            </a:r>
            <a:r>
              <a:rPr lang="tr-TR" sz="1400" dirty="0"/>
              <a:t> </a:t>
            </a:r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096000" y="3071484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17836" y="3656690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832558" y="7804041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</p:spTree>
    <p:extLst>
      <p:ext uri="{BB962C8B-B14F-4D97-AF65-F5344CB8AC3E}">
        <p14:creationId xmlns:p14="http://schemas.microsoft.com/office/powerpoint/2010/main" val="5609310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ikdörtgen: Yuvarlatılmış Köşeler 28">
            <a:extLst>
              <a:ext uri="{FF2B5EF4-FFF2-40B4-BE49-F238E27FC236}">
                <a16:creationId xmlns:a16="http://schemas.microsoft.com/office/drawing/2014/main" id="{F8C87E35-06C7-4BD3-8222-367D6F143BBF}"/>
              </a:ext>
            </a:extLst>
          </p:cNvPr>
          <p:cNvSpPr/>
          <p:nvPr/>
        </p:nvSpPr>
        <p:spPr>
          <a:xfrm>
            <a:off x="1306531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STANDART</a:t>
            </a:r>
            <a:r>
              <a:rPr lang="tr-TR" sz="1400" b="1" dirty="0">
                <a:solidFill>
                  <a:schemeClr val="bg1"/>
                </a:solidFill>
              </a:rPr>
              <a:t> </a:t>
            </a:r>
          </a:p>
          <a:p>
            <a:r>
              <a:rPr lang="tr-TR" sz="1400" b="1" u="sng" dirty="0">
                <a:solidFill>
                  <a:schemeClr val="bg1"/>
                </a:solidFill>
              </a:rPr>
              <a:t>KOS 1</a:t>
            </a:r>
          </a:p>
          <a:p>
            <a:r>
              <a:rPr lang="tr-TR" sz="1400" dirty="0">
                <a:solidFill>
                  <a:schemeClr val="bg1"/>
                </a:solidFill>
              </a:rPr>
              <a:t>Etik Değerler ve Dürüstlük: Personel davranışlarını belirleyen kuralların personel tarafından bilinmesi sağlanmalıdır.</a:t>
            </a:r>
          </a:p>
        </p:txBody>
      </p:sp>
      <p:sp>
        <p:nvSpPr>
          <p:cNvPr id="31" name="Dikdörtgen: Yuvarlatılmış Köşeler 30">
            <a:extLst>
              <a:ext uri="{FF2B5EF4-FFF2-40B4-BE49-F238E27FC236}">
                <a16:creationId xmlns:a16="http://schemas.microsoft.com/office/drawing/2014/main" id="{1CBA9C02-8F7B-44B1-954E-F5487E34B299}"/>
              </a:ext>
            </a:extLst>
          </p:cNvPr>
          <p:cNvSpPr/>
          <p:nvPr/>
        </p:nvSpPr>
        <p:spPr>
          <a:xfrm>
            <a:off x="3841570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GENEL ŞART</a:t>
            </a:r>
          </a:p>
          <a:p>
            <a:r>
              <a:rPr lang="tr-TR" sz="1400" b="1" u="sng" dirty="0">
                <a:solidFill>
                  <a:schemeClr val="bg1"/>
                </a:solidFill>
              </a:rPr>
              <a:t>KOS 1.2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yöneticileri iç kontrol sisteminin uygulanmasında personele örnek olmalıdır.</a:t>
            </a:r>
          </a:p>
        </p:txBody>
      </p:sp>
      <p:sp>
        <p:nvSpPr>
          <p:cNvPr id="32" name="Dikdörtgen: Yuvarlatılmış Köşeler 31">
            <a:extLst>
              <a:ext uri="{FF2B5EF4-FFF2-40B4-BE49-F238E27FC236}">
                <a16:creationId xmlns:a16="http://schemas.microsoft.com/office/drawing/2014/main" id="{4D28CAD3-A5B7-4BC1-A6B2-B2F4B374FEA6}"/>
              </a:ext>
            </a:extLst>
          </p:cNvPr>
          <p:cNvSpPr/>
          <p:nvPr/>
        </p:nvSpPr>
        <p:spPr>
          <a:xfrm>
            <a:off x="6387146" y="2260138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EYLEM</a:t>
            </a:r>
          </a:p>
          <a:p>
            <a:r>
              <a:rPr lang="tr-TR" sz="1400" b="1" u="sng" dirty="0">
                <a:solidFill>
                  <a:schemeClr val="bg1"/>
                </a:solidFill>
              </a:rPr>
              <a:t>E.1.2.1</a:t>
            </a:r>
          </a:p>
          <a:p>
            <a:r>
              <a:rPr lang="tr-TR" sz="1400" dirty="0">
                <a:solidFill>
                  <a:schemeClr val="bg1"/>
                </a:solidFill>
              </a:rPr>
              <a:t>Harcama Birimi düzeyinde yönetici tarafından kurumsallaşma kapsamında personeli ile toplantı düzenlemesi</a:t>
            </a:r>
          </a:p>
        </p:txBody>
      </p:sp>
      <p:sp>
        <p:nvSpPr>
          <p:cNvPr id="33" name="Dikdörtgen: Yuvarlatılmış Köşeler 32">
            <a:extLst>
              <a:ext uri="{FF2B5EF4-FFF2-40B4-BE49-F238E27FC236}">
                <a16:creationId xmlns:a16="http://schemas.microsoft.com/office/drawing/2014/main" id="{C1C24B29-A7E8-4C4C-8904-AAB46B8C8673}"/>
              </a:ext>
            </a:extLst>
          </p:cNvPr>
          <p:cNvSpPr/>
          <p:nvPr/>
        </p:nvSpPr>
        <p:spPr>
          <a:xfrm>
            <a:off x="9003930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Merkez Birimler/İl Sağlık Müdürlükler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oplantı Görselleri Katılımcı Listes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937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-2888479" y="5105400"/>
            <a:ext cx="15527709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65" name="Serbest Form: Şekil 64">
            <a:extLst>
              <a:ext uri="{FF2B5EF4-FFF2-40B4-BE49-F238E27FC236}">
                <a16:creationId xmlns:a16="http://schemas.microsoft.com/office/drawing/2014/main" id="{179F2948-DDDD-4A51-810D-24FEE4A60903}"/>
              </a:ext>
            </a:extLst>
          </p:cNvPr>
          <p:cNvSpPr/>
          <p:nvPr/>
        </p:nvSpPr>
        <p:spPr>
          <a:xfrm>
            <a:off x="-10380523" y="2043919"/>
            <a:ext cx="26055484" cy="3061481"/>
          </a:xfrm>
          <a:custGeom>
            <a:avLst/>
            <a:gdLst>
              <a:gd name="connsiteX0" fmla="*/ 766505 w 26055484"/>
              <a:gd name="connsiteY0" fmla="*/ 93541 h 2926666"/>
              <a:gd name="connsiteX1" fmla="*/ 311015 w 26055484"/>
              <a:gd name="connsiteY1" fmla="*/ 549031 h 2926666"/>
              <a:gd name="connsiteX2" fmla="*/ 311015 w 26055484"/>
              <a:gd name="connsiteY2" fmla="*/ 2370934 h 2926666"/>
              <a:gd name="connsiteX3" fmla="*/ 766505 w 26055484"/>
              <a:gd name="connsiteY3" fmla="*/ 2826424 h 2926666"/>
              <a:gd name="connsiteX4" fmla="*/ 9831510 w 26055484"/>
              <a:gd name="connsiteY4" fmla="*/ 2826424 h 2926666"/>
              <a:gd name="connsiteX5" fmla="*/ 10287000 w 26055484"/>
              <a:gd name="connsiteY5" fmla="*/ 2370934 h 2926666"/>
              <a:gd name="connsiteX6" fmla="*/ 10287000 w 26055484"/>
              <a:gd name="connsiteY6" fmla="*/ 549031 h 2926666"/>
              <a:gd name="connsiteX7" fmla="*/ 9831510 w 26055484"/>
              <a:gd name="connsiteY7" fmla="*/ 93541 h 2926666"/>
              <a:gd name="connsiteX8" fmla="*/ 0 w 26055484"/>
              <a:gd name="connsiteY8" fmla="*/ 0 h 2926666"/>
              <a:gd name="connsiteX9" fmla="*/ 26055484 w 26055484"/>
              <a:gd name="connsiteY9" fmla="*/ 0 h 2926666"/>
              <a:gd name="connsiteX10" fmla="*/ 26055484 w 26055484"/>
              <a:gd name="connsiteY10" fmla="*/ 2926666 h 2926666"/>
              <a:gd name="connsiteX11" fmla="*/ 0 w 26055484"/>
              <a:gd name="connsiteY11" fmla="*/ 2926666 h 292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55484" h="2926666">
                <a:moveTo>
                  <a:pt x="766505" y="93541"/>
                </a:moveTo>
                <a:cubicBezTo>
                  <a:pt x="514945" y="93541"/>
                  <a:pt x="311015" y="297471"/>
                  <a:pt x="311015" y="549031"/>
                </a:cubicBezTo>
                <a:lnTo>
                  <a:pt x="311015" y="2370934"/>
                </a:lnTo>
                <a:cubicBezTo>
                  <a:pt x="311015" y="2622494"/>
                  <a:pt x="514945" y="2826424"/>
                  <a:pt x="766505" y="2826424"/>
                </a:cubicBezTo>
                <a:lnTo>
                  <a:pt x="9831510" y="2826424"/>
                </a:lnTo>
                <a:cubicBezTo>
                  <a:pt x="10083070" y="2826424"/>
                  <a:pt x="10287000" y="2622494"/>
                  <a:pt x="10287000" y="2370934"/>
                </a:cubicBezTo>
                <a:lnTo>
                  <a:pt x="10287000" y="549031"/>
                </a:lnTo>
                <a:cubicBezTo>
                  <a:pt x="10287000" y="297471"/>
                  <a:pt x="10083070" y="93541"/>
                  <a:pt x="9831510" y="93541"/>
                </a:cubicBezTo>
                <a:close/>
                <a:moveTo>
                  <a:pt x="0" y="0"/>
                </a:moveTo>
                <a:lnTo>
                  <a:pt x="26055484" y="0"/>
                </a:lnTo>
                <a:lnTo>
                  <a:pt x="26055484" y="2926666"/>
                </a:lnTo>
                <a:lnTo>
                  <a:pt x="0" y="2926666"/>
                </a:lnTo>
                <a:close/>
              </a:path>
            </a:pathLst>
          </a:custGeom>
          <a:solidFill>
            <a:srgbClr val="CFD2D9"/>
          </a:solidFill>
          <a:ln>
            <a:solidFill>
              <a:srgbClr val="CFD2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510C102A-36DD-4DF5-8C33-FAA835D77301}"/>
              </a:ext>
            </a:extLst>
          </p:cNvPr>
          <p:cNvSpPr txBox="1"/>
          <p:nvPr/>
        </p:nvSpPr>
        <p:spPr>
          <a:xfrm>
            <a:off x="4137485" y="940036"/>
            <a:ext cx="39170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2400" b="1" dirty="0"/>
              <a:t>2. Çeyrek Dönem Eylemleri</a:t>
            </a:r>
          </a:p>
        </p:txBody>
      </p:sp>
      <p:sp>
        <p:nvSpPr>
          <p:cNvPr id="28" name="Metin kutusu 27">
            <a:extLst>
              <a:ext uri="{FF2B5EF4-FFF2-40B4-BE49-F238E27FC236}">
                <a16:creationId xmlns:a16="http://schemas.microsoft.com/office/drawing/2014/main" id="{4077CD9C-045C-4A31-B931-D5B994F4A537}"/>
              </a:ext>
            </a:extLst>
          </p:cNvPr>
          <p:cNvSpPr txBox="1"/>
          <p:nvPr/>
        </p:nvSpPr>
        <p:spPr>
          <a:xfrm>
            <a:off x="1092200" y="1497044"/>
            <a:ext cx="10110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1.2.1 Harcama Birimi düzeyinde</a:t>
            </a:r>
            <a:r>
              <a:rPr lang="tr-TR" sz="1600" dirty="0"/>
              <a:t> yönetici tarafından kurumsallaşma kapsamında personeli ile toplantı düzenlemesi</a:t>
            </a:r>
          </a:p>
        </p:txBody>
      </p:sp>
      <p:sp>
        <p:nvSpPr>
          <p:cNvPr id="30" name="Metin kutusu 29">
            <a:extLst>
              <a:ext uri="{FF2B5EF4-FFF2-40B4-BE49-F238E27FC236}">
                <a16:creationId xmlns:a16="http://schemas.microsoft.com/office/drawing/2014/main" id="{BC2DE063-C08A-4A06-9025-CFF9BD65BD29}"/>
              </a:ext>
            </a:extLst>
          </p:cNvPr>
          <p:cNvSpPr txBox="1"/>
          <p:nvPr/>
        </p:nvSpPr>
        <p:spPr>
          <a:xfrm>
            <a:off x="1092200" y="2029192"/>
            <a:ext cx="101107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1.3.2 Harcama Birimi düzeyinde</a:t>
            </a:r>
            <a:r>
              <a:rPr lang="tr-TR" sz="1600" b="1" dirty="0"/>
              <a:t> </a:t>
            </a:r>
            <a:r>
              <a:rPr lang="tr-TR" sz="1600" dirty="0"/>
              <a:t>Etik Davranış İlkeleri doğrultusunda "Etik Slogan (Mesaj)" belirlenerek tüm personele resmi yazı / e-Posta olarak gönderilmesi.</a:t>
            </a:r>
          </a:p>
        </p:txBody>
      </p:sp>
      <p:sp>
        <p:nvSpPr>
          <p:cNvPr id="34" name="Metin kutusu 33">
            <a:extLst>
              <a:ext uri="{FF2B5EF4-FFF2-40B4-BE49-F238E27FC236}">
                <a16:creationId xmlns:a16="http://schemas.microsoft.com/office/drawing/2014/main" id="{024BBDAF-45A2-44CC-9050-6530BC0FD8B9}"/>
              </a:ext>
            </a:extLst>
          </p:cNvPr>
          <p:cNvSpPr txBox="1"/>
          <p:nvPr/>
        </p:nvSpPr>
        <p:spPr>
          <a:xfrm>
            <a:off x="1092200" y="2639504"/>
            <a:ext cx="10110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2.4.1 Harcama Birimi düzeyinde</a:t>
            </a:r>
            <a:r>
              <a:rPr lang="tr-TR" sz="1600" dirty="0"/>
              <a:t> Teşkilat Şemalarının web sayfasında yayınlaması</a:t>
            </a:r>
          </a:p>
        </p:txBody>
      </p:sp>
      <p:sp>
        <p:nvSpPr>
          <p:cNvPr id="35" name="Metin kutusu 34">
            <a:extLst>
              <a:ext uri="{FF2B5EF4-FFF2-40B4-BE49-F238E27FC236}">
                <a16:creationId xmlns:a16="http://schemas.microsoft.com/office/drawing/2014/main" id="{CC3A2C96-14BE-4F4C-901E-FFF11DE8B9C7}"/>
              </a:ext>
            </a:extLst>
          </p:cNvPr>
          <p:cNvSpPr txBox="1"/>
          <p:nvPr/>
        </p:nvSpPr>
        <p:spPr>
          <a:xfrm>
            <a:off x="1092200" y="3127060"/>
            <a:ext cx="10110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2.7.1 Başkanlık düzeyinde</a:t>
            </a:r>
            <a:r>
              <a:rPr lang="tr-TR" sz="1600" b="1" dirty="0"/>
              <a:t> </a:t>
            </a:r>
            <a:r>
              <a:rPr lang="tr-TR" sz="1600" dirty="0"/>
              <a:t>görev alanı ile ilgili Üç Aylık Durum Raporunun hazırlanması </a:t>
            </a:r>
          </a:p>
        </p:txBody>
      </p:sp>
      <p:sp>
        <p:nvSpPr>
          <p:cNvPr id="36" name="Metin kutusu 35">
            <a:extLst>
              <a:ext uri="{FF2B5EF4-FFF2-40B4-BE49-F238E27FC236}">
                <a16:creationId xmlns:a16="http://schemas.microsoft.com/office/drawing/2014/main" id="{60E377E6-100E-40B5-94AB-93916E55379A}"/>
              </a:ext>
            </a:extLst>
          </p:cNvPr>
          <p:cNvSpPr txBox="1"/>
          <p:nvPr/>
        </p:nvSpPr>
        <p:spPr>
          <a:xfrm>
            <a:off x="1092200" y="3492832"/>
            <a:ext cx="1011077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12.2.1</a:t>
            </a:r>
            <a:r>
              <a:rPr lang="tr-TR" sz="1600" b="1" dirty="0"/>
              <a:t> </a:t>
            </a:r>
            <a:r>
              <a:rPr lang="tr-TR" sz="16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37" name="Metin kutusu 36">
            <a:extLst>
              <a:ext uri="{FF2B5EF4-FFF2-40B4-BE49-F238E27FC236}">
                <a16:creationId xmlns:a16="http://schemas.microsoft.com/office/drawing/2014/main" id="{8D9B5037-A432-4AAE-9FBB-6B46CDE09AA9}"/>
              </a:ext>
            </a:extLst>
          </p:cNvPr>
          <p:cNvSpPr txBox="1"/>
          <p:nvPr/>
        </p:nvSpPr>
        <p:spPr>
          <a:xfrm>
            <a:off x="1092200" y="3858604"/>
            <a:ext cx="1011077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13.7.2</a:t>
            </a:r>
            <a:r>
              <a:rPr lang="tr-TR" sz="1600" b="1" dirty="0"/>
              <a:t> </a:t>
            </a:r>
            <a:r>
              <a:rPr lang="tr-TR" sz="1600" dirty="0"/>
              <a:t>81 İl Sağlık Müdürlüğü çalışanlarına yönelik memnuniyet araştırması yapılması, sonuçların değerlendirilerek raporlanması </a:t>
            </a:r>
          </a:p>
        </p:txBody>
      </p:sp>
      <p:sp>
        <p:nvSpPr>
          <p:cNvPr id="38" name="Metin kutusu 37">
            <a:extLst>
              <a:ext uri="{FF2B5EF4-FFF2-40B4-BE49-F238E27FC236}">
                <a16:creationId xmlns:a16="http://schemas.microsoft.com/office/drawing/2014/main" id="{69827A11-E0FB-4FFA-BDB9-0FC22A078F5B}"/>
              </a:ext>
            </a:extLst>
          </p:cNvPr>
          <p:cNvSpPr txBox="1"/>
          <p:nvPr/>
        </p:nvSpPr>
        <p:spPr>
          <a:xfrm>
            <a:off x="1092200" y="4474074"/>
            <a:ext cx="101107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r-TR" sz="1600" b="1" u="sng" dirty="0"/>
              <a:t>E.15.3.2</a:t>
            </a:r>
            <a:r>
              <a:rPr lang="tr-TR" sz="1600" b="1" dirty="0"/>
              <a:t> </a:t>
            </a:r>
            <a:r>
              <a:rPr lang="tr-TR" sz="16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r-TR" sz="1600" dirty="0"/>
          </a:p>
        </p:txBody>
      </p:sp>
    </p:spTree>
    <p:extLst>
      <p:ext uri="{BB962C8B-B14F-4D97-AF65-F5344CB8AC3E}">
        <p14:creationId xmlns:p14="http://schemas.microsoft.com/office/powerpoint/2010/main" val="3426494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447161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EFAB7074-D28B-4BD6-ABFF-6C79AED3806B}"/>
              </a:ext>
            </a:extLst>
          </p:cNvPr>
          <p:cNvSpPr/>
          <p:nvPr/>
        </p:nvSpPr>
        <p:spPr>
          <a:xfrm>
            <a:off x="61427" y="1132491"/>
            <a:ext cx="2070612" cy="246221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 err="1">
                <a:solidFill>
                  <a:schemeClr val="bg1"/>
                </a:solidFill>
              </a:rPr>
              <a:t>Strnadart</a:t>
            </a:r>
            <a:r>
              <a:rPr lang="tr-TR" sz="1400" b="1" u="sng" dirty="0">
                <a:solidFill>
                  <a:schemeClr val="bg1"/>
                </a:solidFill>
              </a:rPr>
              <a:t> (KOS-2)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Misyon, Organizasyon Yapısı ve Görevler:</a:t>
            </a:r>
            <a:r>
              <a:rPr lang="tr-TR" sz="1400" dirty="0">
                <a:solidFill>
                  <a:schemeClr val="bg1"/>
                </a:solidFill>
              </a:rPr>
              <a:t> İdarelerin misyonu ile birimlerin ve personelin görev tanımları yazılı olarak belirlenmeli, personele duyurulmalı ve idarede uygun bir organizasyon yapısı oluşturulmalıdır.</a:t>
            </a:r>
          </a:p>
        </p:txBody>
      </p:sp>
      <p:sp>
        <p:nvSpPr>
          <p:cNvPr id="48" name="Dikdörtgen 47">
            <a:extLst>
              <a:ext uri="{FF2B5EF4-FFF2-40B4-BE49-F238E27FC236}">
                <a16:creationId xmlns:a16="http://schemas.microsoft.com/office/drawing/2014/main" id="{BB770616-F1C4-40C8-B405-0F0770C2041D}"/>
              </a:ext>
            </a:extLst>
          </p:cNvPr>
          <p:cNvSpPr/>
          <p:nvPr/>
        </p:nvSpPr>
        <p:spPr>
          <a:xfrm>
            <a:off x="2164165" y="1860422"/>
            <a:ext cx="3886201" cy="954107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Genel Şart (KOS 2.4)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ve birimlerinin teşkilat şeması olmalı ve buna bağlı olarak fonksiyonel görev dağılımı belirlenmelidir.</a:t>
            </a:r>
          </a:p>
        </p:txBody>
      </p:sp>
      <p:sp>
        <p:nvSpPr>
          <p:cNvPr id="8" name="Dikdörtgen 7">
            <a:extLst>
              <a:ext uri="{FF2B5EF4-FFF2-40B4-BE49-F238E27FC236}">
                <a16:creationId xmlns:a16="http://schemas.microsoft.com/office/drawing/2014/main" id="{E691957A-D35C-4CE4-867D-C13080D1B72F}"/>
              </a:ext>
            </a:extLst>
          </p:cNvPr>
          <p:cNvSpPr/>
          <p:nvPr/>
        </p:nvSpPr>
        <p:spPr>
          <a:xfrm>
            <a:off x="2164166" y="2856040"/>
            <a:ext cx="3886200" cy="73866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u="sng" dirty="0"/>
              <a:t>Eylem:</a:t>
            </a:r>
            <a:r>
              <a:rPr lang="tr-TR" sz="1400" dirty="0"/>
              <a:t> </a:t>
            </a:r>
            <a:r>
              <a:rPr lang="tr-TR" sz="1400" b="1" u="sng" dirty="0"/>
              <a:t>E.2.4.1</a:t>
            </a:r>
          </a:p>
          <a:p>
            <a:r>
              <a:rPr lang="tr-TR" sz="1400" b="1" u="sng" dirty="0"/>
              <a:t>Harcama Birimi düzeyinde</a:t>
            </a:r>
            <a:r>
              <a:rPr lang="tr-TR" sz="1400" dirty="0"/>
              <a:t> </a:t>
            </a:r>
          </a:p>
          <a:p>
            <a:r>
              <a:rPr lang="tr-TR" sz="1400" dirty="0"/>
              <a:t>Teşkilat Şemalarının web sayfasında yayınlaması</a:t>
            </a:r>
          </a:p>
        </p:txBody>
      </p:sp>
      <p:sp>
        <p:nvSpPr>
          <p:cNvPr id="9" name="Dikdörtgen 8">
            <a:extLst>
              <a:ext uri="{FF2B5EF4-FFF2-40B4-BE49-F238E27FC236}">
                <a16:creationId xmlns:a16="http://schemas.microsoft.com/office/drawing/2014/main" id="{5F7358A8-A48D-4D40-A47F-7024F3D01C3A}"/>
              </a:ext>
            </a:extLst>
          </p:cNvPr>
          <p:cNvSpPr/>
          <p:nvPr/>
        </p:nvSpPr>
        <p:spPr>
          <a:xfrm>
            <a:off x="6096000" y="3071484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Sorumlu Birim</a:t>
            </a:r>
          </a:p>
          <a:p>
            <a:r>
              <a:rPr lang="tr-TR" sz="1400" dirty="0"/>
              <a:t>Merkez Birimler/İl Sağlık Müdürlükleri</a:t>
            </a:r>
          </a:p>
        </p:txBody>
      </p:sp>
      <p:sp>
        <p:nvSpPr>
          <p:cNvPr id="49" name="Dikdörtgen 48">
            <a:extLst>
              <a:ext uri="{FF2B5EF4-FFF2-40B4-BE49-F238E27FC236}">
                <a16:creationId xmlns:a16="http://schemas.microsoft.com/office/drawing/2014/main" id="{39A2FF67-BFBB-4086-A163-4DF06273FBDE}"/>
              </a:ext>
            </a:extLst>
          </p:cNvPr>
          <p:cNvSpPr/>
          <p:nvPr/>
        </p:nvSpPr>
        <p:spPr>
          <a:xfrm>
            <a:off x="6117836" y="3656690"/>
            <a:ext cx="3323161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Çıktısı</a:t>
            </a:r>
          </a:p>
          <a:p>
            <a:r>
              <a:rPr lang="tr-TR" sz="1400" dirty="0"/>
              <a:t>Teşkilat Şeması Web Sayfası Ekran Görseli</a:t>
            </a:r>
          </a:p>
        </p:txBody>
      </p:sp>
      <p:sp>
        <p:nvSpPr>
          <p:cNvPr id="50" name="Dikdörtgen 49">
            <a:extLst>
              <a:ext uri="{FF2B5EF4-FFF2-40B4-BE49-F238E27FC236}">
                <a16:creationId xmlns:a16="http://schemas.microsoft.com/office/drawing/2014/main" id="{4934DB45-A9C4-4BFD-BA63-072E9CCFAB46}"/>
              </a:ext>
            </a:extLst>
          </p:cNvPr>
          <p:cNvSpPr/>
          <p:nvPr/>
        </p:nvSpPr>
        <p:spPr>
          <a:xfrm>
            <a:off x="9479084" y="3656358"/>
            <a:ext cx="236515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>
            <a:spAutoFit/>
          </a:bodyPr>
          <a:lstStyle/>
          <a:p>
            <a:r>
              <a:rPr lang="tr-TR" sz="1400" b="1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</p:spTree>
    <p:extLst>
      <p:ext uri="{BB962C8B-B14F-4D97-AF65-F5344CB8AC3E}">
        <p14:creationId xmlns:p14="http://schemas.microsoft.com/office/powerpoint/2010/main" val="355453080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 rot="10800000">
            <a:off x="-4342306" y="803141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 rot="10800000">
            <a:off x="-4343414" y="840191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 rot="10800000">
            <a:off x="-4326062" y="815000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 rot="10800000">
            <a:off x="-4324432" y="834317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 rot="10800000">
            <a:off x="-4363473" y="833444"/>
            <a:ext cx="4254463" cy="4254463"/>
            <a:chOff x="337290" y="736139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337290" y="736139"/>
              <a:ext cx="4254463" cy="4254463"/>
              <a:chOff x="1623711" y="517871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623711" y="517871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378598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 rot="10800000">
            <a:off x="-4361561" y="814436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3110429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3676858" y="858753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3675750" y="895803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3693102" y="870612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3694732" y="889929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3655691" y="889056"/>
            <a:ext cx="4254463" cy="4254463"/>
            <a:chOff x="337290" y="736139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337290" y="736139"/>
              <a:ext cx="4254463" cy="4254463"/>
              <a:chOff x="1623711" y="517871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623711" y="517871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378598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3657603" y="870048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70249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3885612" y="1406095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437473" y="846088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454825" y="820897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456455" y="840214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417414" y="839341"/>
            <a:ext cx="4254463" cy="4254463"/>
            <a:chOff x="337290" y="736139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337290" y="736139"/>
              <a:ext cx="4254463" cy="4254463"/>
              <a:chOff x="1623711" y="517871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623711" y="517871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378598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419326" y="820333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2414527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57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7392512" y="824257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437473" y="846088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 rot="17942633">
            <a:off x="4036144" y="1377000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456455" y="840214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417414" y="839341"/>
            <a:ext cx="4254463" cy="4254463"/>
            <a:chOff x="337290" y="736139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337290" y="736139"/>
              <a:ext cx="4254463" cy="4254463"/>
              <a:chOff x="1623711" y="517871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623711" y="517871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378598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419326" y="820333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0999834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3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6737742" y="831170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284850" y="895803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6764636" y="838858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 rot="14402642">
            <a:off x="3560684" y="1746468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264791" y="889056"/>
            <a:ext cx="4254463" cy="4254463"/>
            <a:chOff x="337290" y="736139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337290" y="736139"/>
              <a:ext cx="4254463" cy="4254463"/>
              <a:chOff x="1623711" y="517871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623711" y="517871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378598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266703" y="870048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80569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6737742" y="831170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849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 rot="10800000">
            <a:off x="3753307" y="1733424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 rot="10800000"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6764636" y="838858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6767787" y="864029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264791" y="889056"/>
            <a:ext cx="4254463" cy="4254463"/>
            <a:chOff x="337290" y="736139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337290" y="736139"/>
              <a:ext cx="4254463" cy="4254463"/>
              <a:chOff x="1623711" y="517871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623711" y="517871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378598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266703" y="870048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23673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6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6737742" y="831170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6737741" y="866529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 rot="10800000"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6764636" y="838858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6767787" y="864029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 rot="7184394">
            <a:off x="3633434" y="1518974"/>
            <a:ext cx="4254463" cy="4254463"/>
            <a:chOff x="237558" y="723386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237558" y="723386"/>
              <a:ext cx="4254463" cy="4254463"/>
              <a:chOff x="1716318" y="478717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716318" y="478717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441560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266703" y="870048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8937410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6737742" y="831170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6737741" y="866529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 rot="10800000"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6764636" y="838858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6767787" y="864029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6705088" y="847822"/>
            <a:ext cx="4254463" cy="4254463"/>
            <a:chOff x="237558" y="723386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237558" y="723386"/>
              <a:ext cx="4254463" cy="4254463"/>
              <a:chOff x="1716318" y="478717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716318" y="478717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441560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 rot="3826321">
            <a:off x="3485407" y="1501249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8412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7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>
            <a:off x="6737742" y="831170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74319"/>
              <a:ext cx="136338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>
            <a:off x="6737741" y="902389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 rot="10800000"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>
            <a:off x="6764636" y="838858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>
            <a:off x="6767787" y="864029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>
            <a:off x="6714053" y="892647"/>
            <a:ext cx="4254463" cy="4254463"/>
            <a:chOff x="237558" y="723386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237558" y="723386"/>
              <a:ext cx="4254463" cy="4254463"/>
              <a:chOff x="1716318" y="478717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716318" y="478717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441560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>
            <a:off x="6699968" y="861895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852519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ikdörtgen: Yuvarlatılmış Köşeler 28">
            <a:extLst>
              <a:ext uri="{FF2B5EF4-FFF2-40B4-BE49-F238E27FC236}">
                <a16:creationId xmlns:a16="http://schemas.microsoft.com/office/drawing/2014/main" id="{F8C87E35-06C7-4BD3-8222-367D6F143BBF}"/>
              </a:ext>
            </a:extLst>
          </p:cNvPr>
          <p:cNvSpPr/>
          <p:nvPr/>
        </p:nvSpPr>
        <p:spPr>
          <a:xfrm>
            <a:off x="1306531" y="2257965"/>
            <a:ext cx="2095870" cy="27328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E2F0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400" b="1" u="sng" dirty="0">
                <a:solidFill>
                  <a:schemeClr val="tx1"/>
                </a:solidFill>
              </a:rPr>
              <a:t>STANDART-1 (KOS)</a:t>
            </a:r>
          </a:p>
          <a:p>
            <a:r>
              <a:rPr lang="tr-TR" sz="1600" dirty="0">
                <a:solidFill>
                  <a:schemeClr val="tx1"/>
                </a:solidFill>
              </a:rPr>
              <a:t>Etik Değerler ve Dürüstlük: Personel davranışlarını belirleyen kuralların personel tarafından bilinmesi sağlanmalıdır.</a:t>
            </a:r>
          </a:p>
        </p:txBody>
      </p:sp>
      <p:sp>
        <p:nvSpPr>
          <p:cNvPr id="31" name="Dikdörtgen: Yuvarlatılmış Köşeler 30">
            <a:extLst>
              <a:ext uri="{FF2B5EF4-FFF2-40B4-BE49-F238E27FC236}">
                <a16:creationId xmlns:a16="http://schemas.microsoft.com/office/drawing/2014/main" id="{1CBA9C02-8F7B-44B1-954E-F5487E34B299}"/>
              </a:ext>
            </a:extLst>
          </p:cNvPr>
          <p:cNvSpPr/>
          <p:nvPr/>
        </p:nvSpPr>
        <p:spPr>
          <a:xfrm>
            <a:off x="3841570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GENEL ŞART</a:t>
            </a:r>
          </a:p>
          <a:p>
            <a:r>
              <a:rPr lang="tr-TR" sz="1400" b="1" u="sng" dirty="0">
                <a:solidFill>
                  <a:schemeClr val="bg1"/>
                </a:solidFill>
              </a:rPr>
              <a:t>KOS 1.2</a:t>
            </a:r>
          </a:p>
          <a:p>
            <a:r>
              <a:rPr lang="tr-TR" sz="1400" dirty="0">
                <a:solidFill>
                  <a:schemeClr val="bg1"/>
                </a:solidFill>
              </a:rPr>
              <a:t>İdarenin yöneticileri iç kontrol sisteminin uygulanmasında personele örnek olmalıdır.</a:t>
            </a:r>
          </a:p>
        </p:txBody>
      </p:sp>
      <p:sp>
        <p:nvSpPr>
          <p:cNvPr id="32" name="Dikdörtgen: Yuvarlatılmış Köşeler 31">
            <a:extLst>
              <a:ext uri="{FF2B5EF4-FFF2-40B4-BE49-F238E27FC236}">
                <a16:creationId xmlns:a16="http://schemas.microsoft.com/office/drawing/2014/main" id="{4D28CAD3-A5B7-4BC1-A6B2-B2F4B374FEA6}"/>
              </a:ext>
            </a:extLst>
          </p:cNvPr>
          <p:cNvSpPr/>
          <p:nvPr/>
        </p:nvSpPr>
        <p:spPr>
          <a:xfrm>
            <a:off x="6387146" y="2260138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EYLEM</a:t>
            </a:r>
          </a:p>
          <a:p>
            <a:r>
              <a:rPr lang="tr-TR" sz="1400" b="1" u="sng" dirty="0">
                <a:solidFill>
                  <a:schemeClr val="bg1"/>
                </a:solidFill>
              </a:rPr>
              <a:t>E.1.2.1</a:t>
            </a:r>
          </a:p>
          <a:p>
            <a:r>
              <a:rPr lang="tr-TR" sz="1400" dirty="0">
                <a:solidFill>
                  <a:schemeClr val="bg1"/>
                </a:solidFill>
              </a:rPr>
              <a:t>Harcama Birimi düzeyinde yönetici tarafından kurumsallaşma kapsamında personeli ile toplantı düzenlemesi</a:t>
            </a:r>
          </a:p>
        </p:txBody>
      </p:sp>
      <p:sp>
        <p:nvSpPr>
          <p:cNvPr id="33" name="Dikdörtgen: Yuvarlatılmış Köşeler 32">
            <a:extLst>
              <a:ext uri="{FF2B5EF4-FFF2-40B4-BE49-F238E27FC236}">
                <a16:creationId xmlns:a16="http://schemas.microsoft.com/office/drawing/2014/main" id="{C1C24B29-A7E8-4C4C-8904-AAB46B8C8673}"/>
              </a:ext>
            </a:extLst>
          </p:cNvPr>
          <p:cNvSpPr/>
          <p:nvPr/>
        </p:nvSpPr>
        <p:spPr>
          <a:xfrm>
            <a:off x="9003930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Merkez Birimler/İl Sağlık Müdürlükler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oplantı Görselleri Katılımcı Listes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937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7" name="Konuşma Balonu: Oval 6">
            <a:extLst>
              <a:ext uri="{FF2B5EF4-FFF2-40B4-BE49-F238E27FC236}">
                <a16:creationId xmlns:a16="http://schemas.microsoft.com/office/drawing/2014/main" id="{AD6722E1-43C7-4029-B712-FF661927ED82}"/>
              </a:ext>
            </a:extLst>
          </p:cNvPr>
          <p:cNvSpPr/>
          <p:nvPr/>
        </p:nvSpPr>
        <p:spPr>
          <a:xfrm>
            <a:off x="3511550" y="877749"/>
            <a:ext cx="5168900" cy="678670"/>
          </a:xfrm>
          <a:prstGeom prst="wedgeEllipseCallout">
            <a:avLst>
              <a:gd name="adj1" fmla="val -67760"/>
              <a:gd name="adj2" fmla="val 12612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KONTROL ORTAMI STANDARDI (KOS</a:t>
            </a:r>
            <a:r>
              <a:rPr lang="tr-TR" dirty="0"/>
              <a:t>)</a:t>
            </a:r>
          </a:p>
        </p:txBody>
      </p:sp>
      <p:sp>
        <p:nvSpPr>
          <p:cNvPr id="65" name="Serbest Form: Şekil 64">
            <a:extLst>
              <a:ext uri="{FF2B5EF4-FFF2-40B4-BE49-F238E27FC236}">
                <a16:creationId xmlns:a16="http://schemas.microsoft.com/office/drawing/2014/main" id="{179F2948-DDDD-4A51-810D-24FEE4A60903}"/>
              </a:ext>
            </a:extLst>
          </p:cNvPr>
          <p:cNvSpPr/>
          <p:nvPr/>
        </p:nvSpPr>
        <p:spPr>
          <a:xfrm>
            <a:off x="-6888023" y="2146300"/>
            <a:ext cx="26055484" cy="2956199"/>
          </a:xfrm>
          <a:custGeom>
            <a:avLst/>
            <a:gdLst>
              <a:gd name="connsiteX0" fmla="*/ 766505 w 26055484"/>
              <a:gd name="connsiteY0" fmla="*/ 93541 h 2926666"/>
              <a:gd name="connsiteX1" fmla="*/ 311015 w 26055484"/>
              <a:gd name="connsiteY1" fmla="*/ 549031 h 2926666"/>
              <a:gd name="connsiteX2" fmla="*/ 311015 w 26055484"/>
              <a:gd name="connsiteY2" fmla="*/ 2370934 h 2926666"/>
              <a:gd name="connsiteX3" fmla="*/ 766505 w 26055484"/>
              <a:gd name="connsiteY3" fmla="*/ 2826424 h 2926666"/>
              <a:gd name="connsiteX4" fmla="*/ 9831510 w 26055484"/>
              <a:gd name="connsiteY4" fmla="*/ 2826424 h 2926666"/>
              <a:gd name="connsiteX5" fmla="*/ 10287000 w 26055484"/>
              <a:gd name="connsiteY5" fmla="*/ 2370934 h 2926666"/>
              <a:gd name="connsiteX6" fmla="*/ 10287000 w 26055484"/>
              <a:gd name="connsiteY6" fmla="*/ 549031 h 2926666"/>
              <a:gd name="connsiteX7" fmla="*/ 9831510 w 26055484"/>
              <a:gd name="connsiteY7" fmla="*/ 93541 h 2926666"/>
              <a:gd name="connsiteX8" fmla="*/ 0 w 26055484"/>
              <a:gd name="connsiteY8" fmla="*/ 0 h 2926666"/>
              <a:gd name="connsiteX9" fmla="*/ 26055484 w 26055484"/>
              <a:gd name="connsiteY9" fmla="*/ 0 h 2926666"/>
              <a:gd name="connsiteX10" fmla="*/ 26055484 w 26055484"/>
              <a:gd name="connsiteY10" fmla="*/ 2926666 h 2926666"/>
              <a:gd name="connsiteX11" fmla="*/ 0 w 26055484"/>
              <a:gd name="connsiteY11" fmla="*/ 2926666 h 292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55484" h="2926666">
                <a:moveTo>
                  <a:pt x="766505" y="93541"/>
                </a:moveTo>
                <a:cubicBezTo>
                  <a:pt x="514945" y="93541"/>
                  <a:pt x="311015" y="297471"/>
                  <a:pt x="311015" y="549031"/>
                </a:cubicBezTo>
                <a:lnTo>
                  <a:pt x="311015" y="2370934"/>
                </a:lnTo>
                <a:cubicBezTo>
                  <a:pt x="311015" y="2622494"/>
                  <a:pt x="514945" y="2826424"/>
                  <a:pt x="766505" y="2826424"/>
                </a:cubicBezTo>
                <a:lnTo>
                  <a:pt x="9831510" y="2826424"/>
                </a:lnTo>
                <a:cubicBezTo>
                  <a:pt x="10083070" y="2826424"/>
                  <a:pt x="10287000" y="2622494"/>
                  <a:pt x="10287000" y="2370934"/>
                </a:cubicBezTo>
                <a:lnTo>
                  <a:pt x="10287000" y="549031"/>
                </a:lnTo>
                <a:cubicBezTo>
                  <a:pt x="10287000" y="297471"/>
                  <a:pt x="10083070" y="93541"/>
                  <a:pt x="9831510" y="93541"/>
                </a:cubicBezTo>
                <a:close/>
                <a:moveTo>
                  <a:pt x="0" y="0"/>
                </a:moveTo>
                <a:lnTo>
                  <a:pt x="26055484" y="0"/>
                </a:lnTo>
                <a:lnTo>
                  <a:pt x="26055484" y="2926666"/>
                </a:lnTo>
                <a:lnTo>
                  <a:pt x="0" y="2926666"/>
                </a:lnTo>
                <a:close/>
              </a:path>
            </a:pathLst>
          </a:custGeom>
          <a:solidFill>
            <a:srgbClr val="CFD2D9"/>
          </a:solidFill>
          <a:ln>
            <a:solidFill>
              <a:srgbClr val="CFD2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08319958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5047361" y="53747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  <p:grpSp>
        <p:nvGrpSpPr>
          <p:cNvPr id="57" name="Grup 56">
            <a:extLst>
              <a:ext uri="{FF2B5EF4-FFF2-40B4-BE49-F238E27FC236}">
                <a16:creationId xmlns:a16="http://schemas.microsoft.com/office/drawing/2014/main" id="{33ADE42B-E531-4BB7-B391-30FFCC6CCDB0}"/>
              </a:ext>
            </a:extLst>
          </p:cNvPr>
          <p:cNvGrpSpPr/>
          <p:nvPr/>
        </p:nvGrpSpPr>
        <p:grpSpPr>
          <a:xfrm rot="10800000">
            <a:off x="-5059805" y="831170"/>
            <a:ext cx="4254463" cy="4254463"/>
            <a:chOff x="350852" y="734339"/>
            <a:chExt cx="4254463" cy="4254463"/>
          </a:xfrm>
        </p:grpSpPr>
        <p:sp>
          <p:nvSpPr>
            <p:cNvPr id="58" name="Kısmi Daire 57">
              <a:extLst>
                <a:ext uri="{FF2B5EF4-FFF2-40B4-BE49-F238E27FC236}">
                  <a16:creationId xmlns:a16="http://schemas.microsoft.com/office/drawing/2014/main" id="{A5C1F87E-015E-4F91-83F3-2CEAD270BE83}"/>
                </a:ext>
              </a:extLst>
            </p:cNvPr>
            <p:cNvSpPr/>
            <p:nvPr/>
          </p:nvSpPr>
          <p:spPr>
            <a:xfrm rot="19781838">
              <a:off x="350852" y="734339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9" name="Dikdörtgen 58">
              <a:extLst>
                <a:ext uri="{FF2B5EF4-FFF2-40B4-BE49-F238E27FC236}">
                  <a16:creationId xmlns:a16="http://schemas.microsoft.com/office/drawing/2014/main" id="{0F611972-C82F-4B75-A0DA-5241A9208040}"/>
                </a:ext>
              </a:extLst>
            </p:cNvPr>
            <p:cNvSpPr/>
            <p:nvPr/>
          </p:nvSpPr>
          <p:spPr>
            <a:xfrm>
              <a:off x="1916085" y="866624"/>
              <a:ext cx="1363388" cy="118494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r-TR" sz="700" b="1" dirty="0"/>
                <a:t>Standart</a:t>
              </a:r>
            </a:p>
            <a:p>
              <a:r>
                <a:rPr lang="tr-TR" sz="700" b="1" dirty="0"/>
                <a:t>KOS 2</a:t>
              </a:r>
            </a:p>
            <a:p>
              <a:r>
                <a:rPr lang="tr-TR" sz="700" b="1" dirty="0"/>
                <a:t>Misyon, Organizasyon Yapısı ve Görevler: </a:t>
              </a:r>
              <a:r>
                <a:rPr lang="tr-TR" sz="700" dirty="0"/>
                <a:t>İdarelerin misyonu ile birimlerin ve personelin görev tanımları yazılı olarak belirlenmeli, personele duyurulmalı ve idarede uygun bir organizasyon yapısı oluşturulmalıdır.</a:t>
              </a:r>
            </a:p>
          </p:txBody>
        </p:sp>
      </p:grpSp>
      <p:grpSp>
        <p:nvGrpSpPr>
          <p:cNvPr id="60" name="Grup 59">
            <a:extLst>
              <a:ext uri="{FF2B5EF4-FFF2-40B4-BE49-F238E27FC236}">
                <a16:creationId xmlns:a16="http://schemas.microsoft.com/office/drawing/2014/main" id="{2B2D3353-924E-48D6-A493-74A61EBD455C}"/>
              </a:ext>
            </a:extLst>
          </p:cNvPr>
          <p:cNvGrpSpPr/>
          <p:nvPr/>
        </p:nvGrpSpPr>
        <p:grpSpPr>
          <a:xfrm rot="10800000">
            <a:off x="-5059806" y="902389"/>
            <a:ext cx="4254463" cy="4254463"/>
            <a:chOff x="325874" y="726754"/>
            <a:chExt cx="4254463" cy="4254463"/>
          </a:xfrm>
        </p:grpSpPr>
        <p:sp>
          <p:nvSpPr>
            <p:cNvPr id="61" name="Kısmi Daire 60">
              <a:extLst>
                <a:ext uri="{FF2B5EF4-FFF2-40B4-BE49-F238E27FC236}">
                  <a16:creationId xmlns:a16="http://schemas.microsoft.com/office/drawing/2014/main" id="{33FDD3CE-B7DC-4D75-9BD8-8ED7BF56B9F8}"/>
                </a:ext>
              </a:extLst>
            </p:cNvPr>
            <p:cNvSpPr/>
            <p:nvPr/>
          </p:nvSpPr>
          <p:spPr>
            <a:xfrm rot="9026066">
              <a:off x="325874" y="726754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2" name="Dikdörtgen 61">
              <a:extLst>
                <a:ext uri="{FF2B5EF4-FFF2-40B4-BE49-F238E27FC236}">
                  <a16:creationId xmlns:a16="http://schemas.microsoft.com/office/drawing/2014/main" id="{1BCAA915-80DB-4BA1-AED5-C914D50A6E9B}"/>
                </a:ext>
              </a:extLst>
            </p:cNvPr>
            <p:cNvSpPr/>
            <p:nvPr/>
          </p:nvSpPr>
          <p:spPr>
            <a:xfrm rot="10800000">
              <a:off x="1720151" y="4325596"/>
              <a:ext cx="1465907" cy="400110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Sorumlu Birim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İl Sağlık Müdürlükleri</a:t>
              </a:r>
            </a:p>
          </p:txBody>
        </p:sp>
      </p:grpSp>
      <p:grpSp>
        <p:nvGrpSpPr>
          <p:cNvPr id="63" name="Grup 62">
            <a:extLst>
              <a:ext uri="{FF2B5EF4-FFF2-40B4-BE49-F238E27FC236}">
                <a16:creationId xmlns:a16="http://schemas.microsoft.com/office/drawing/2014/main" id="{E86FEDE0-135F-4989-8C2F-D8E8109A5005}"/>
              </a:ext>
            </a:extLst>
          </p:cNvPr>
          <p:cNvGrpSpPr/>
          <p:nvPr/>
        </p:nvGrpSpPr>
        <p:grpSpPr>
          <a:xfrm rot="10800000">
            <a:off x="-5032911" y="838858"/>
            <a:ext cx="4254463" cy="4254463"/>
            <a:chOff x="918170" y="405637"/>
            <a:chExt cx="4254463" cy="4254463"/>
          </a:xfrm>
        </p:grpSpPr>
        <p:sp>
          <p:nvSpPr>
            <p:cNvPr id="64" name="Kısmi Daire 63">
              <a:extLst>
                <a:ext uri="{FF2B5EF4-FFF2-40B4-BE49-F238E27FC236}">
                  <a16:creationId xmlns:a16="http://schemas.microsoft.com/office/drawing/2014/main" id="{C6009120-06E3-4E55-925D-4F4B80C7CAF8}"/>
                </a:ext>
              </a:extLst>
            </p:cNvPr>
            <p:cNvSpPr/>
            <p:nvPr/>
          </p:nvSpPr>
          <p:spPr>
            <a:xfrm rot="1798188">
              <a:off x="918170" y="405637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accent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65" name="Dikdörtgen 64">
              <a:extLst>
                <a:ext uri="{FF2B5EF4-FFF2-40B4-BE49-F238E27FC236}">
                  <a16:creationId xmlns:a16="http://schemas.microsoft.com/office/drawing/2014/main" id="{64964481-C40A-44A2-BA68-8255AD4AD213}"/>
                </a:ext>
              </a:extLst>
            </p:cNvPr>
            <p:cNvSpPr/>
            <p:nvPr/>
          </p:nvSpPr>
          <p:spPr>
            <a:xfrm rot="3472678">
              <a:off x="3822530" y="1214958"/>
              <a:ext cx="927771" cy="120032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Genel Şart</a:t>
              </a:r>
            </a:p>
            <a:p>
              <a:r>
                <a:rPr lang="tr-TR" sz="800" b="1" dirty="0"/>
                <a:t>KOS 2.7</a:t>
              </a:r>
            </a:p>
            <a:p>
              <a:r>
                <a:rPr lang="tr-TR" sz="800" dirty="0"/>
                <a:t>Her düzeydeki yöneticiler verilen görevlerin sonucunu izlemeye yönelik mekanizmalar oluşturmalıdır.</a:t>
              </a:r>
            </a:p>
          </p:txBody>
        </p:sp>
      </p:grpSp>
      <p:grpSp>
        <p:nvGrpSpPr>
          <p:cNvPr id="66" name="Grup 65">
            <a:extLst>
              <a:ext uri="{FF2B5EF4-FFF2-40B4-BE49-F238E27FC236}">
                <a16:creationId xmlns:a16="http://schemas.microsoft.com/office/drawing/2014/main" id="{DCEB4CE9-EE98-4781-81E6-012EF5AA8C8E}"/>
              </a:ext>
            </a:extLst>
          </p:cNvPr>
          <p:cNvGrpSpPr/>
          <p:nvPr/>
        </p:nvGrpSpPr>
        <p:grpSpPr>
          <a:xfrm rot="10800000">
            <a:off x="-5029760" y="864029"/>
            <a:ext cx="4254463" cy="4254463"/>
            <a:chOff x="327649" y="738987"/>
            <a:chExt cx="4254463" cy="4254463"/>
          </a:xfrm>
        </p:grpSpPr>
        <p:grpSp>
          <p:nvGrpSpPr>
            <p:cNvPr id="67" name="Grup 66">
              <a:extLst>
                <a:ext uri="{FF2B5EF4-FFF2-40B4-BE49-F238E27FC236}">
                  <a16:creationId xmlns:a16="http://schemas.microsoft.com/office/drawing/2014/main" id="{360E19D1-30D2-42A2-8A90-47F83C804863}"/>
                </a:ext>
              </a:extLst>
            </p:cNvPr>
            <p:cNvGrpSpPr/>
            <p:nvPr/>
          </p:nvGrpSpPr>
          <p:grpSpPr>
            <a:xfrm rot="635025">
              <a:off x="327649" y="738987"/>
              <a:ext cx="4254463" cy="4254463"/>
              <a:chOff x="912428" y="749234"/>
              <a:chExt cx="4254463" cy="4254463"/>
            </a:xfrm>
          </p:grpSpPr>
          <p:sp>
            <p:nvSpPr>
              <p:cNvPr id="69" name="Kısmi Daire 68">
                <a:extLst>
                  <a:ext uri="{FF2B5EF4-FFF2-40B4-BE49-F238E27FC236}">
                    <a16:creationId xmlns:a16="http://schemas.microsoft.com/office/drawing/2014/main" id="{363F7B85-0FC2-4887-80A3-9274CD2D5C30}"/>
                  </a:ext>
                </a:extLst>
              </p:cNvPr>
              <p:cNvSpPr/>
              <p:nvPr/>
            </p:nvSpPr>
            <p:spPr>
              <a:xfrm rot="4780728">
                <a:off x="912428" y="749234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Kısmi Daire 4">
                <a:extLst>
                  <a:ext uri="{FF2B5EF4-FFF2-40B4-BE49-F238E27FC236}">
                    <a16:creationId xmlns:a16="http://schemas.microsoft.com/office/drawing/2014/main" id="{7B1A61C9-64D8-49A4-BC11-0700B43597A0}"/>
                  </a:ext>
                </a:extLst>
              </p:cNvPr>
              <p:cNvSpPr txBox="1"/>
              <p:nvPr/>
            </p:nvSpPr>
            <p:spPr>
              <a:xfrm rot="4780728">
                <a:off x="3732253" y="2846392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68" name="Dikdörtgen 67">
              <a:extLst>
                <a:ext uri="{FF2B5EF4-FFF2-40B4-BE49-F238E27FC236}">
                  <a16:creationId xmlns:a16="http://schemas.microsoft.com/office/drawing/2014/main" id="{87FFE5C0-39D5-4832-9D9D-B12B822C7FFA}"/>
                </a:ext>
              </a:extLst>
            </p:cNvPr>
            <p:cNvSpPr/>
            <p:nvPr/>
          </p:nvSpPr>
          <p:spPr>
            <a:xfrm rot="7253543">
              <a:off x="3183360" y="3117968"/>
              <a:ext cx="1065108" cy="95410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800" b="1" dirty="0"/>
                <a:t>Eylem</a:t>
              </a:r>
            </a:p>
            <a:p>
              <a:r>
                <a:rPr lang="tr-TR" sz="800" b="1" dirty="0"/>
                <a:t>E.2.7.1</a:t>
              </a:r>
            </a:p>
            <a:p>
              <a:r>
                <a:rPr lang="tr-TR" sz="800" b="1" u="sng" dirty="0"/>
                <a:t>Başkanlık düzeyinde </a:t>
              </a:r>
              <a:r>
                <a:rPr lang="tr-TR" sz="800" dirty="0"/>
                <a:t>görev alanı ile ilgili Üç Aylık Durum Raporunun hazırlanması </a:t>
              </a:r>
            </a:p>
          </p:txBody>
        </p:sp>
      </p:grpSp>
      <p:grpSp>
        <p:nvGrpSpPr>
          <p:cNvPr id="71" name="Grup 70">
            <a:extLst>
              <a:ext uri="{FF2B5EF4-FFF2-40B4-BE49-F238E27FC236}">
                <a16:creationId xmlns:a16="http://schemas.microsoft.com/office/drawing/2014/main" id="{0E0F6131-2697-42D5-A1D4-A160C6CBE7A0}"/>
              </a:ext>
            </a:extLst>
          </p:cNvPr>
          <p:cNvGrpSpPr/>
          <p:nvPr/>
        </p:nvGrpSpPr>
        <p:grpSpPr>
          <a:xfrm rot="10800000">
            <a:off x="-5083494" y="892647"/>
            <a:ext cx="4254463" cy="4254463"/>
            <a:chOff x="237558" y="723386"/>
            <a:chExt cx="4254463" cy="4254463"/>
          </a:xfrm>
        </p:grpSpPr>
        <p:grpSp>
          <p:nvGrpSpPr>
            <p:cNvPr id="72" name="Grup 71">
              <a:extLst>
                <a:ext uri="{FF2B5EF4-FFF2-40B4-BE49-F238E27FC236}">
                  <a16:creationId xmlns:a16="http://schemas.microsoft.com/office/drawing/2014/main" id="{7EE38399-343B-4261-9703-8B4265AB12B3}"/>
                </a:ext>
              </a:extLst>
            </p:cNvPr>
            <p:cNvGrpSpPr/>
            <p:nvPr/>
          </p:nvGrpSpPr>
          <p:grpSpPr>
            <a:xfrm rot="12612319">
              <a:off x="237558" y="723386"/>
              <a:ext cx="4254463" cy="4254463"/>
              <a:chOff x="1716318" y="478717"/>
              <a:chExt cx="4254463" cy="4254463"/>
            </a:xfrm>
          </p:grpSpPr>
          <p:sp>
            <p:nvSpPr>
              <p:cNvPr id="74" name="Kısmi Daire 73">
                <a:extLst>
                  <a:ext uri="{FF2B5EF4-FFF2-40B4-BE49-F238E27FC236}">
                    <a16:creationId xmlns:a16="http://schemas.microsoft.com/office/drawing/2014/main" id="{86F8F363-BFCF-4AA4-B05A-1AB0115372D9}"/>
                  </a:ext>
                </a:extLst>
              </p:cNvPr>
              <p:cNvSpPr/>
              <p:nvPr/>
            </p:nvSpPr>
            <p:spPr>
              <a:xfrm>
                <a:off x="1716318" y="478717"/>
                <a:ext cx="4254463" cy="4254463"/>
              </a:xfrm>
              <a:prstGeom prst="pie">
                <a:avLst>
                  <a:gd name="adj1" fmla="val 16200000"/>
                  <a:gd name="adj2" fmla="val 19800000"/>
                </a:avLst>
              </a:prstGeom>
              <a:solidFill>
                <a:schemeClr val="accent2">
                  <a:lumMod val="5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Kısmi Daire 4">
                <a:extLst>
                  <a:ext uri="{FF2B5EF4-FFF2-40B4-BE49-F238E27FC236}">
                    <a16:creationId xmlns:a16="http://schemas.microsoft.com/office/drawing/2014/main" id="{54562060-ADB9-4FAA-9ECD-67075B89C0BF}"/>
                  </a:ext>
                </a:extLst>
              </p:cNvPr>
              <p:cNvSpPr txBox="1"/>
              <p:nvPr/>
            </p:nvSpPr>
            <p:spPr>
              <a:xfrm>
                <a:off x="3796526" y="973707"/>
                <a:ext cx="1240885" cy="911670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marL="0" lvl="0" indent="0" algn="ctr" defTabSz="13335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endParaRPr lang="tr-TR" sz="3000" kern="1200" dirty="0"/>
              </a:p>
            </p:txBody>
          </p:sp>
        </p:grpSp>
        <p:sp>
          <p:nvSpPr>
            <p:cNvPr id="73" name="Dikdörtgen 72">
              <a:extLst>
                <a:ext uri="{FF2B5EF4-FFF2-40B4-BE49-F238E27FC236}">
                  <a16:creationId xmlns:a16="http://schemas.microsoft.com/office/drawing/2014/main" id="{48CB1763-209A-45AA-A47D-2156E1BAEC5B}"/>
                </a:ext>
              </a:extLst>
            </p:cNvPr>
            <p:cNvSpPr/>
            <p:nvPr/>
          </p:nvSpPr>
          <p:spPr>
            <a:xfrm rot="14415606">
              <a:off x="523716" y="3235263"/>
              <a:ext cx="1173827" cy="707886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1000" b="1" dirty="0">
                  <a:solidFill>
                    <a:schemeClr val="bg1"/>
                  </a:solidFill>
                </a:rPr>
                <a:t>Eylem Çıktısı</a:t>
              </a:r>
            </a:p>
            <a:p>
              <a:r>
                <a:rPr lang="tr-TR" sz="1000" dirty="0">
                  <a:solidFill>
                    <a:schemeClr val="bg1"/>
                  </a:solidFill>
                </a:rPr>
                <a:t>Üç Aylık Durum Raporu (Her Başkanlık Ayrı Ayrı)</a:t>
              </a:r>
            </a:p>
          </p:txBody>
        </p:sp>
      </p:grpSp>
      <p:grpSp>
        <p:nvGrpSpPr>
          <p:cNvPr id="76" name="Grup 75">
            <a:extLst>
              <a:ext uri="{FF2B5EF4-FFF2-40B4-BE49-F238E27FC236}">
                <a16:creationId xmlns:a16="http://schemas.microsoft.com/office/drawing/2014/main" id="{033A8913-A291-4A0A-AC9D-7153492EB64A}"/>
              </a:ext>
            </a:extLst>
          </p:cNvPr>
          <p:cNvGrpSpPr/>
          <p:nvPr/>
        </p:nvGrpSpPr>
        <p:grpSpPr>
          <a:xfrm rot="10800000">
            <a:off x="-5097579" y="861895"/>
            <a:ext cx="4254463" cy="4254463"/>
            <a:chOff x="333056" y="739823"/>
            <a:chExt cx="4254463" cy="4254463"/>
          </a:xfrm>
        </p:grpSpPr>
        <p:sp>
          <p:nvSpPr>
            <p:cNvPr id="77" name="Kısmi Daire 76">
              <a:extLst>
                <a:ext uri="{FF2B5EF4-FFF2-40B4-BE49-F238E27FC236}">
                  <a16:creationId xmlns:a16="http://schemas.microsoft.com/office/drawing/2014/main" id="{D2B67200-30AF-4458-B028-9A23DAFA4E03}"/>
                </a:ext>
              </a:extLst>
            </p:cNvPr>
            <p:cNvSpPr/>
            <p:nvPr/>
          </p:nvSpPr>
          <p:spPr>
            <a:xfrm rot="16206346">
              <a:off x="333056" y="739823"/>
              <a:ext cx="4254463" cy="4254463"/>
            </a:xfrm>
            <a:prstGeom prst="pie">
              <a:avLst>
                <a:gd name="adj1" fmla="val 16200000"/>
                <a:gd name="adj2" fmla="val 19800000"/>
              </a:avLst>
            </a:prstGeom>
            <a:solidFill>
              <a:schemeClr val="bg1">
                <a:lumMod val="8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8" name="Dikdörtgen 77">
              <a:extLst>
                <a:ext uri="{FF2B5EF4-FFF2-40B4-BE49-F238E27FC236}">
                  <a16:creationId xmlns:a16="http://schemas.microsoft.com/office/drawing/2014/main" id="{6E594526-2986-42FB-9B69-F1D1D84E18C0}"/>
                </a:ext>
              </a:extLst>
            </p:cNvPr>
            <p:cNvSpPr/>
            <p:nvPr/>
          </p:nvSpPr>
          <p:spPr>
            <a:xfrm rot="17842259">
              <a:off x="311439" y="1914480"/>
              <a:ext cx="1531634" cy="369332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</p:spPr>
          <p:txBody>
            <a:bodyPr wrap="square">
              <a:spAutoFit/>
            </a:bodyPr>
            <a:lstStyle/>
            <a:p>
              <a:r>
                <a:rPr lang="tr-TR" sz="900" b="1" dirty="0"/>
                <a:t>Eylem Dönemi</a:t>
              </a:r>
            </a:p>
            <a:p>
              <a:r>
                <a:rPr lang="tr-TR" sz="900" dirty="0"/>
                <a:t>1.2.3.4. Çeyrek Dönem 202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7785373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Konuşma Balonu: Oval 46">
            <a:extLst>
              <a:ext uri="{FF2B5EF4-FFF2-40B4-BE49-F238E27FC236}">
                <a16:creationId xmlns:a16="http://schemas.microsoft.com/office/drawing/2014/main" id="{AB2B4805-50FF-4403-A4A7-EC1606E09A40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6D5BEC39-514A-4C35-8EF8-47203157200C}"/>
              </a:ext>
            </a:extLst>
          </p:cNvPr>
          <p:cNvSpPr txBox="1"/>
          <p:nvPr/>
        </p:nvSpPr>
        <p:spPr>
          <a:xfrm rot="19287107">
            <a:off x="1471397" y="2438393"/>
            <a:ext cx="313841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/>
              <a:t>Eylem</a:t>
            </a:r>
          </a:p>
          <a:p>
            <a:r>
              <a:rPr lang="tr-TR" sz="1400" b="1" dirty="0"/>
              <a:t>E.12.2.1</a:t>
            </a:r>
          </a:p>
          <a:p>
            <a:r>
              <a:rPr lang="tr-TR" sz="14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:a16="http://schemas.microsoft.com/office/drawing/2014/main" id="{8F4B3C69-80B2-4CD8-82F6-44EA95E1E932}"/>
              </a:ext>
            </a:extLst>
          </p:cNvPr>
          <p:cNvSpPr txBox="1"/>
          <p:nvPr/>
        </p:nvSpPr>
        <p:spPr>
          <a:xfrm>
            <a:off x="5044367" y="3568297"/>
            <a:ext cx="17330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/>
              <a:t>Eylem</a:t>
            </a:r>
          </a:p>
          <a:p>
            <a:r>
              <a:rPr lang="tr-TR" sz="1200" b="1" dirty="0"/>
              <a:t>E.12.2.1</a:t>
            </a:r>
          </a:p>
          <a:p>
            <a:r>
              <a:rPr lang="tr-TR" sz="1200" dirty="0"/>
              <a:t>Bilgi güvenliği yetkilileri tarafından kendi birimlerindeki tüm personele bilgi güvenliği eğitiminin yapılması</a:t>
            </a:r>
          </a:p>
        </p:txBody>
      </p:sp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 rot="5919211">
            <a:off x="5552437" y="563876"/>
            <a:ext cx="782709" cy="753152"/>
            <a:chOff x="5762803" y="703787"/>
            <a:chExt cx="782709" cy="782709"/>
          </a:xfrm>
          <a:solidFill>
            <a:schemeClr val="tx1"/>
          </a:solidFill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376383">
              <a:off x="6230427" y="1179895"/>
              <a:ext cx="83685" cy="273658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8030" h="7705497">
                  <a:moveTo>
                    <a:pt x="0" y="7071554"/>
                  </a:moveTo>
                  <a:lnTo>
                    <a:pt x="2427841" y="0"/>
                  </a:lnTo>
                  <a:lnTo>
                    <a:pt x="2568030" y="0"/>
                  </a:lnTo>
                  <a:lnTo>
                    <a:pt x="2536319" y="7705497"/>
                  </a:lnTo>
                  <a:lnTo>
                    <a:pt x="0" y="7071554"/>
                  </a:lnTo>
                  <a:close/>
                </a:path>
              </a:pathLst>
            </a:cu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5762803" y="703787"/>
              <a:ext cx="782709" cy="782709"/>
            </a:xfrm>
            <a:prstGeom prst="rect">
              <a:avLst/>
            </a:prstGeom>
          </p:spPr>
        </p:pic>
      </p:grpSp>
      <p:sp>
        <p:nvSpPr>
          <p:cNvPr id="7" name="Metin kutusu 6">
            <a:extLst>
              <a:ext uri="{FF2B5EF4-FFF2-40B4-BE49-F238E27FC236}">
                <a16:creationId xmlns:a16="http://schemas.microsoft.com/office/drawing/2014/main" id="{031FBAA7-C82A-4A0E-A889-E84AA11E4B2A}"/>
              </a:ext>
            </a:extLst>
          </p:cNvPr>
          <p:cNvSpPr txBox="1"/>
          <p:nvPr/>
        </p:nvSpPr>
        <p:spPr>
          <a:xfrm>
            <a:off x="6890717" y="4083167"/>
            <a:ext cx="2338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Sorumlu Birim</a:t>
            </a:r>
          </a:p>
          <a:p>
            <a:r>
              <a:rPr lang="tr-TR" dirty="0"/>
              <a:t>Merkez Birimler</a:t>
            </a:r>
          </a:p>
        </p:txBody>
      </p: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sp>
        <p:nvSpPr>
          <p:cNvPr id="30" name="Dikdörtgen 29">
            <a:extLst>
              <a:ext uri="{FF2B5EF4-FFF2-40B4-BE49-F238E27FC236}">
                <a16:creationId xmlns:a16="http://schemas.microsoft.com/office/drawing/2014/main" id="{EDABDC93-B5B4-4AE9-BC97-2D930BC1A491}"/>
              </a:ext>
            </a:extLst>
          </p:cNvPr>
          <p:cNvSpPr/>
          <p:nvPr/>
        </p:nvSpPr>
        <p:spPr>
          <a:xfrm>
            <a:off x="37990" y="3298572"/>
            <a:ext cx="12154010" cy="1851902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31" name="Grup 30">
            <a:extLst>
              <a:ext uri="{FF2B5EF4-FFF2-40B4-BE49-F238E27FC236}">
                <a16:creationId xmlns:a16="http://schemas.microsoft.com/office/drawing/2014/main" id="{0D0648F4-926A-4E46-8FB7-1BB4E20CBB68}"/>
              </a:ext>
            </a:extLst>
          </p:cNvPr>
          <p:cNvGrpSpPr/>
          <p:nvPr/>
        </p:nvGrpSpPr>
        <p:grpSpPr>
          <a:xfrm>
            <a:off x="-6604000" y="5323933"/>
            <a:ext cx="12192000" cy="956220"/>
            <a:chOff x="-393700" y="5316151"/>
            <a:chExt cx="12192000" cy="1285400"/>
          </a:xfrm>
        </p:grpSpPr>
        <p:grpSp>
          <p:nvGrpSpPr>
            <p:cNvPr id="32" name="Grup 31">
              <a:extLst>
                <a:ext uri="{FF2B5EF4-FFF2-40B4-BE49-F238E27FC236}">
                  <a16:creationId xmlns:a16="http://schemas.microsoft.com/office/drawing/2014/main" id="{3AF6213F-3161-4AB4-8B9C-9AA6CD593E33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9" name="Dikdörtgen 38">
                <a:extLst>
                  <a:ext uri="{FF2B5EF4-FFF2-40B4-BE49-F238E27FC236}">
                    <a16:creationId xmlns:a16="http://schemas.microsoft.com/office/drawing/2014/main" id="{55FDED44-C36D-413B-94A6-9FC02211E9E6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6FAF33E5-F1BF-4F72-8270-D8AC03BEDE2C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9D7310D2-2685-45C3-AEF8-E6820E0D8FBB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77E30CF4-446E-4F7E-842A-394334B45C32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3A9FAADE-6A47-4891-B08B-91FB42DB1211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F2AC6602-1F9D-4D0A-89C5-C683E26A23D6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C8274E1E-F0B9-44EA-B19C-D48A8BDCF7F6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23EE58E-9587-414F-BCCA-79FED4B168D0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33" name="Dikdörtgen 32">
              <a:extLst>
                <a:ext uri="{FF2B5EF4-FFF2-40B4-BE49-F238E27FC236}">
                  <a16:creationId xmlns:a16="http://schemas.microsoft.com/office/drawing/2014/main" id="{47417C8A-2299-4A35-872F-C69B397BB3E4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34" name="Dikdörtgen 33">
              <a:extLst>
                <a:ext uri="{FF2B5EF4-FFF2-40B4-BE49-F238E27FC236}">
                  <a16:creationId xmlns:a16="http://schemas.microsoft.com/office/drawing/2014/main" id="{1C5668BC-B1FE-43B8-8CFF-D5698869DCDB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35" name="Dikdörtgen 34">
              <a:extLst>
                <a:ext uri="{FF2B5EF4-FFF2-40B4-BE49-F238E27FC236}">
                  <a16:creationId xmlns:a16="http://schemas.microsoft.com/office/drawing/2014/main" id="{D48CDDD0-66E2-41DE-86FF-EF72CA0BA3F9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36" name="Dikdörtgen 35">
              <a:extLst>
                <a:ext uri="{FF2B5EF4-FFF2-40B4-BE49-F238E27FC236}">
                  <a16:creationId xmlns:a16="http://schemas.microsoft.com/office/drawing/2014/main" id="{A565C513-F512-40EE-8E20-39B196422D86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37" name="Dikdörtgen 36">
              <a:extLst>
                <a:ext uri="{FF2B5EF4-FFF2-40B4-BE49-F238E27FC236}">
                  <a16:creationId xmlns:a16="http://schemas.microsoft.com/office/drawing/2014/main" id="{D52FB216-E00A-46FD-A20A-6BED8660415D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38" name="Dikdörtgen 37">
              <a:extLst>
                <a:ext uri="{FF2B5EF4-FFF2-40B4-BE49-F238E27FC236}">
                  <a16:creationId xmlns:a16="http://schemas.microsoft.com/office/drawing/2014/main" id="{2CC414E2-CB1E-4CE8-A098-8C9A2578FE74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8" name="Grup 47">
            <a:extLst>
              <a:ext uri="{FF2B5EF4-FFF2-40B4-BE49-F238E27FC236}">
                <a16:creationId xmlns:a16="http://schemas.microsoft.com/office/drawing/2014/main" id="{52E2DCB6-A822-4E58-8F34-7E57BADCC8D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49" name="Serbest Form: Şekil 48">
              <a:extLst>
                <a:ext uri="{FF2B5EF4-FFF2-40B4-BE49-F238E27FC236}">
                  <a16:creationId xmlns:a16="http://schemas.microsoft.com/office/drawing/2014/main" id="{3FA5C51D-5636-46B4-AC2A-29458C3C736C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50" name="Serbest Form: Şekil 49">
              <a:extLst>
                <a:ext uri="{FF2B5EF4-FFF2-40B4-BE49-F238E27FC236}">
                  <a16:creationId xmlns:a16="http://schemas.microsoft.com/office/drawing/2014/main" id="{27A08025-1704-4AA8-BACB-A30945BA9257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</p:spTree>
    <p:extLst>
      <p:ext uri="{BB962C8B-B14F-4D97-AF65-F5344CB8AC3E}">
        <p14:creationId xmlns:p14="http://schemas.microsoft.com/office/powerpoint/2010/main" val="28880755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8" name="Metin kutusu 7">
            <a:extLst>
              <a:ext uri="{FF2B5EF4-FFF2-40B4-BE49-F238E27FC236}">
                <a16:creationId xmlns:a16="http://schemas.microsoft.com/office/drawing/2014/main" id="{6D5BEC39-514A-4C35-8EF8-47203157200C}"/>
              </a:ext>
            </a:extLst>
          </p:cNvPr>
          <p:cNvSpPr txBox="1"/>
          <p:nvPr/>
        </p:nvSpPr>
        <p:spPr>
          <a:xfrm rot="19287107">
            <a:off x="1471397" y="2438393"/>
            <a:ext cx="313841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/>
              <a:t>Eylem</a:t>
            </a:r>
          </a:p>
          <a:p>
            <a:r>
              <a:rPr lang="tr-TR" sz="1400" b="1" dirty="0"/>
              <a:t>E.12.2.1</a:t>
            </a:r>
          </a:p>
          <a:p>
            <a:r>
              <a:rPr lang="tr-TR" sz="14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:a16="http://schemas.microsoft.com/office/drawing/2014/main" id="{8F4B3C69-80B2-4CD8-82F6-44EA95E1E932}"/>
              </a:ext>
            </a:extLst>
          </p:cNvPr>
          <p:cNvSpPr txBox="1"/>
          <p:nvPr/>
        </p:nvSpPr>
        <p:spPr>
          <a:xfrm>
            <a:off x="5044367" y="3568297"/>
            <a:ext cx="17330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/>
              <a:t>Eylem</a:t>
            </a:r>
          </a:p>
          <a:p>
            <a:r>
              <a:rPr lang="tr-TR" sz="1200" b="1" dirty="0"/>
              <a:t>E.12.2.1</a:t>
            </a:r>
          </a:p>
          <a:p>
            <a:r>
              <a:rPr lang="tr-TR" sz="1200" dirty="0"/>
              <a:t>Bilgi güvenliği yetkilileri tarafından kendi birimlerindeki tüm personele bilgi güvenliği eğitiminin yapılması</a:t>
            </a:r>
          </a:p>
        </p:txBody>
      </p:sp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 rot="5919211">
            <a:off x="1104024" y="-2272353"/>
            <a:ext cx="2793886" cy="7412006"/>
            <a:chOff x="5762803" y="703787"/>
            <a:chExt cx="2793886" cy="7105882"/>
          </a:xfrm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376383">
              <a:off x="5987522" y="1371661"/>
              <a:ext cx="2569167" cy="6438008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568030" h="7705497">
                  <a:moveTo>
                    <a:pt x="0" y="7071554"/>
                  </a:moveTo>
                  <a:lnTo>
                    <a:pt x="2427841" y="0"/>
                  </a:lnTo>
                  <a:lnTo>
                    <a:pt x="2568030" y="0"/>
                  </a:lnTo>
                  <a:lnTo>
                    <a:pt x="2536319" y="7705497"/>
                  </a:lnTo>
                  <a:lnTo>
                    <a:pt x="0" y="7071554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5762803" y="703787"/>
              <a:ext cx="782709" cy="782709"/>
            </a:xfrm>
            <a:prstGeom prst="rect">
              <a:avLst/>
            </a:prstGeom>
          </p:spPr>
        </p:pic>
      </p:grpSp>
      <p:sp>
        <p:nvSpPr>
          <p:cNvPr id="7" name="Metin kutusu 6">
            <a:extLst>
              <a:ext uri="{FF2B5EF4-FFF2-40B4-BE49-F238E27FC236}">
                <a16:creationId xmlns:a16="http://schemas.microsoft.com/office/drawing/2014/main" id="{031FBAA7-C82A-4A0E-A889-E84AA11E4B2A}"/>
              </a:ext>
            </a:extLst>
          </p:cNvPr>
          <p:cNvSpPr txBox="1"/>
          <p:nvPr/>
        </p:nvSpPr>
        <p:spPr>
          <a:xfrm>
            <a:off x="6890717" y="4083167"/>
            <a:ext cx="2338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Sorumlu Birim</a:t>
            </a:r>
          </a:p>
          <a:p>
            <a:r>
              <a:rPr lang="tr-TR" dirty="0"/>
              <a:t>Merkez Birimler</a:t>
            </a:r>
          </a:p>
        </p:txBody>
      </p: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sp>
        <p:nvSpPr>
          <p:cNvPr id="28" name="Dikdörtgen 27">
            <a:extLst>
              <a:ext uri="{FF2B5EF4-FFF2-40B4-BE49-F238E27FC236}">
                <a16:creationId xmlns:a16="http://schemas.microsoft.com/office/drawing/2014/main" id="{7FBE9C27-25C8-45AC-A9F7-5DCF7DADF4D0}"/>
              </a:ext>
            </a:extLst>
          </p:cNvPr>
          <p:cNvSpPr/>
          <p:nvPr/>
        </p:nvSpPr>
        <p:spPr>
          <a:xfrm>
            <a:off x="324632" y="1486773"/>
            <a:ext cx="28015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u="sng" dirty="0"/>
              <a:t>Standart-12 (KFS)</a:t>
            </a:r>
          </a:p>
          <a:p>
            <a:r>
              <a:rPr lang="tr-TR" sz="1400" b="1" dirty="0"/>
              <a:t>Bilgi Sistemleri Kontrolleri: </a:t>
            </a:r>
            <a:r>
              <a:rPr lang="tr-TR" sz="1400" dirty="0"/>
              <a:t>İdareler, bilgi sistemlerinin sürekliliğini ve güvenilirliğini sağlamak için gerekli kontrol mekanizmaları geliştirmelidir.</a:t>
            </a:r>
          </a:p>
        </p:txBody>
      </p:sp>
      <p:sp>
        <p:nvSpPr>
          <p:cNvPr id="30" name="Konuşma Balonu: Oval 29">
            <a:extLst>
              <a:ext uri="{FF2B5EF4-FFF2-40B4-BE49-F238E27FC236}">
                <a16:creationId xmlns:a16="http://schemas.microsoft.com/office/drawing/2014/main" id="{680F6AF9-D263-4B53-A3CE-5406755E6F6E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68767360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tin kutusu 8">
            <a:extLst>
              <a:ext uri="{FF2B5EF4-FFF2-40B4-BE49-F238E27FC236}">
                <a16:creationId xmlns:a16="http://schemas.microsoft.com/office/drawing/2014/main" id="{8F4B3C69-80B2-4CD8-82F6-44EA95E1E932}"/>
              </a:ext>
            </a:extLst>
          </p:cNvPr>
          <p:cNvSpPr txBox="1"/>
          <p:nvPr/>
        </p:nvSpPr>
        <p:spPr>
          <a:xfrm>
            <a:off x="5044367" y="3568297"/>
            <a:ext cx="17330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dirty="0"/>
              <a:t>Eylem</a:t>
            </a:r>
          </a:p>
          <a:p>
            <a:r>
              <a:rPr lang="tr-TR" sz="1200" b="1" dirty="0"/>
              <a:t>E.12.2.1</a:t>
            </a:r>
          </a:p>
          <a:p>
            <a:r>
              <a:rPr lang="tr-TR" sz="12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7" name="Metin kutusu 6">
            <a:extLst>
              <a:ext uri="{FF2B5EF4-FFF2-40B4-BE49-F238E27FC236}">
                <a16:creationId xmlns:a16="http://schemas.microsoft.com/office/drawing/2014/main" id="{031FBAA7-C82A-4A0E-A889-E84AA11E4B2A}"/>
              </a:ext>
            </a:extLst>
          </p:cNvPr>
          <p:cNvSpPr txBox="1"/>
          <p:nvPr/>
        </p:nvSpPr>
        <p:spPr>
          <a:xfrm>
            <a:off x="6890717" y="4083167"/>
            <a:ext cx="2338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Sorumlu Birim</a:t>
            </a:r>
          </a:p>
          <a:p>
            <a:r>
              <a:rPr lang="tr-TR" dirty="0"/>
              <a:t>Merkez Birimler</a:t>
            </a:r>
          </a:p>
        </p:txBody>
      </p: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 rot="4472447">
            <a:off x="363278" y="-1233127"/>
            <a:ext cx="3370420" cy="9115714"/>
            <a:chOff x="7523784" y="259020"/>
            <a:chExt cx="3370420" cy="9115714"/>
          </a:xfrm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474902">
              <a:off x="7523784" y="1041376"/>
              <a:ext cx="3370420" cy="8333358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  <a:gd name="connsiteX0" fmla="*/ 0 w 2726184"/>
                <a:gd name="connsiteY0" fmla="*/ 7007037 h 7705497"/>
                <a:gd name="connsiteX1" fmla="*/ 2585995 w 2726184"/>
                <a:gd name="connsiteY1" fmla="*/ 0 h 7705497"/>
                <a:gd name="connsiteX2" fmla="*/ 2726184 w 2726184"/>
                <a:gd name="connsiteY2" fmla="*/ 0 h 7705497"/>
                <a:gd name="connsiteX3" fmla="*/ 2694473 w 2726184"/>
                <a:gd name="connsiteY3" fmla="*/ 7705497 h 7705497"/>
                <a:gd name="connsiteX4" fmla="*/ 0 w 2726184"/>
                <a:gd name="connsiteY4" fmla="*/ 7007037 h 77054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26184" h="7705497">
                  <a:moveTo>
                    <a:pt x="0" y="7007037"/>
                  </a:moveTo>
                  <a:lnTo>
                    <a:pt x="2585995" y="0"/>
                  </a:lnTo>
                  <a:lnTo>
                    <a:pt x="2726184" y="0"/>
                  </a:lnTo>
                  <a:lnTo>
                    <a:pt x="2694473" y="7705497"/>
                  </a:lnTo>
                  <a:lnTo>
                    <a:pt x="0" y="7007037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7614012" y="259020"/>
              <a:ext cx="782709" cy="782709"/>
            </a:xfrm>
            <a:prstGeom prst="rect">
              <a:avLst/>
            </a:prstGeom>
          </p:spPr>
        </p:pic>
      </p:grpSp>
      <p:sp>
        <p:nvSpPr>
          <p:cNvPr id="32" name="Metin kutusu 31">
            <a:extLst>
              <a:ext uri="{FF2B5EF4-FFF2-40B4-BE49-F238E27FC236}">
                <a16:creationId xmlns:a16="http://schemas.microsoft.com/office/drawing/2014/main" id="{365AB41E-4FBE-4E7C-8715-6AF9C3DFC5CF}"/>
              </a:ext>
            </a:extLst>
          </p:cNvPr>
          <p:cNvSpPr txBox="1"/>
          <p:nvPr/>
        </p:nvSpPr>
        <p:spPr>
          <a:xfrm rot="21430113">
            <a:off x="881859" y="3445293"/>
            <a:ext cx="230276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u="sng" dirty="0"/>
              <a:t>Genel Şart: (KFS 12.2)</a:t>
            </a:r>
          </a:p>
          <a:p>
            <a:r>
              <a:rPr lang="tr-TR" sz="1200" dirty="0"/>
              <a:t>Bilgi sistemine veri ve bilgi girişi ile bunlara erişim konusunda yetkilendirmeler yapılmalı, hata ve usulsüzlüklerin önlenmesi, tespit edilmesi ve düzeltilmesini sağlayacak mekanizmalar oluşturu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30" name="Konuşma Balonu: Oval 29">
            <a:extLst>
              <a:ext uri="{FF2B5EF4-FFF2-40B4-BE49-F238E27FC236}">
                <a16:creationId xmlns:a16="http://schemas.microsoft.com/office/drawing/2014/main" id="{876142CF-5476-44FB-B11C-0C6F4D508CA0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190433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 rot="2168525">
            <a:off x="2934574" y="907757"/>
            <a:ext cx="4173349" cy="6523973"/>
            <a:chOff x="5167355" y="703790"/>
            <a:chExt cx="4173349" cy="6523972"/>
          </a:xfrm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376383">
              <a:off x="5167355" y="1319098"/>
              <a:ext cx="4173349" cy="5908664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  <a:gd name="connsiteX0" fmla="*/ 0 w 3234119"/>
                <a:gd name="connsiteY0" fmla="*/ 7071554 h 7779586"/>
                <a:gd name="connsiteX1" fmla="*/ 2427841 w 3234119"/>
                <a:gd name="connsiteY1" fmla="*/ 0 h 7779586"/>
                <a:gd name="connsiteX2" fmla="*/ 2568030 w 3234119"/>
                <a:gd name="connsiteY2" fmla="*/ 0 h 7779586"/>
                <a:gd name="connsiteX3" fmla="*/ 3234119 w 3234119"/>
                <a:gd name="connsiteY3" fmla="*/ 7779587 h 7779586"/>
                <a:gd name="connsiteX4" fmla="*/ 0 w 3234119"/>
                <a:gd name="connsiteY4" fmla="*/ 7071554 h 7779586"/>
                <a:gd name="connsiteX0" fmla="*/ 0 w 3351050"/>
                <a:gd name="connsiteY0" fmla="*/ 7071554 h 7534191"/>
                <a:gd name="connsiteX1" fmla="*/ 2427841 w 3351050"/>
                <a:gd name="connsiteY1" fmla="*/ 0 h 7534191"/>
                <a:gd name="connsiteX2" fmla="*/ 2568030 w 3351050"/>
                <a:gd name="connsiteY2" fmla="*/ 0 h 7534191"/>
                <a:gd name="connsiteX3" fmla="*/ 3351050 w 3351050"/>
                <a:gd name="connsiteY3" fmla="*/ 7534191 h 7534191"/>
                <a:gd name="connsiteX4" fmla="*/ 0 w 3351050"/>
                <a:gd name="connsiteY4" fmla="*/ 7071554 h 7534191"/>
                <a:gd name="connsiteX0" fmla="*/ 0 w 3466759"/>
                <a:gd name="connsiteY0" fmla="*/ 7071554 h 7403325"/>
                <a:gd name="connsiteX1" fmla="*/ 2427841 w 3466759"/>
                <a:gd name="connsiteY1" fmla="*/ 0 h 7403325"/>
                <a:gd name="connsiteX2" fmla="*/ 2568030 w 3466759"/>
                <a:gd name="connsiteY2" fmla="*/ 0 h 7403325"/>
                <a:gd name="connsiteX3" fmla="*/ 3466759 w 3466759"/>
                <a:gd name="connsiteY3" fmla="*/ 7403325 h 7403325"/>
                <a:gd name="connsiteX4" fmla="*/ 0 w 3466759"/>
                <a:gd name="connsiteY4" fmla="*/ 7071554 h 7403325"/>
                <a:gd name="connsiteX0" fmla="*/ 0 w 3622465"/>
                <a:gd name="connsiteY0" fmla="*/ 7071554 h 8882041"/>
                <a:gd name="connsiteX1" fmla="*/ 2427841 w 3622465"/>
                <a:gd name="connsiteY1" fmla="*/ 0 h 8882041"/>
                <a:gd name="connsiteX2" fmla="*/ 2568030 w 3622465"/>
                <a:gd name="connsiteY2" fmla="*/ 0 h 8882041"/>
                <a:gd name="connsiteX3" fmla="*/ 3622465 w 3622465"/>
                <a:gd name="connsiteY3" fmla="*/ 8882041 h 8882041"/>
                <a:gd name="connsiteX4" fmla="*/ 0 w 3622465"/>
                <a:gd name="connsiteY4" fmla="*/ 7071554 h 8882041"/>
                <a:gd name="connsiteX0" fmla="*/ 0 w 4173349"/>
                <a:gd name="connsiteY0" fmla="*/ 8705088 h 8882041"/>
                <a:gd name="connsiteX1" fmla="*/ 2978725 w 4173349"/>
                <a:gd name="connsiteY1" fmla="*/ 0 h 8882041"/>
                <a:gd name="connsiteX2" fmla="*/ 3118914 w 4173349"/>
                <a:gd name="connsiteY2" fmla="*/ 0 h 8882041"/>
                <a:gd name="connsiteX3" fmla="*/ 4173349 w 4173349"/>
                <a:gd name="connsiteY3" fmla="*/ 8882041 h 8882041"/>
                <a:gd name="connsiteX4" fmla="*/ 0 w 4173349"/>
                <a:gd name="connsiteY4" fmla="*/ 8705088 h 8882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73349" h="8882041">
                  <a:moveTo>
                    <a:pt x="0" y="8705088"/>
                  </a:moveTo>
                  <a:lnTo>
                    <a:pt x="2978725" y="0"/>
                  </a:lnTo>
                  <a:lnTo>
                    <a:pt x="3118914" y="0"/>
                  </a:lnTo>
                  <a:lnTo>
                    <a:pt x="4173349" y="8882041"/>
                  </a:lnTo>
                  <a:lnTo>
                    <a:pt x="0" y="870508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5762804" y="703790"/>
              <a:ext cx="782709" cy="782709"/>
            </a:xfrm>
            <a:prstGeom prst="rect">
              <a:avLst/>
            </a:prstGeom>
          </p:spPr>
        </p:pic>
      </p:grpSp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7" name="Metin kutusu 6">
            <a:extLst>
              <a:ext uri="{FF2B5EF4-FFF2-40B4-BE49-F238E27FC236}">
                <a16:creationId xmlns:a16="http://schemas.microsoft.com/office/drawing/2014/main" id="{031FBAA7-C82A-4A0E-A889-E84AA11E4B2A}"/>
              </a:ext>
            </a:extLst>
          </p:cNvPr>
          <p:cNvSpPr txBox="1"/>
          <p:nvPr/>
        </p:nvSpPr>
        <p:spPr>
          <a:xfrm>
            <a:off x="6890717" y="4083167"/>
            <a:ext cx="2338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Sorumlu Birim</a:t>
            </a:r>
          </a:p>
          <a:p>
            <a:r>
              <a:rPr lang="tr-TR" dirty="0"/>
              <a:t>Merkez Birimler</a:t>
            </a:r>
          </a:p>
        </p:txBody>
      </p: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sp>
        <p:nvSpPr>
          <p:cNvPr id="30" name="Metin kutusu 29">
            <a:extLst>
              <a:ext uri="{FF2B5EF4-FFF2-40B4-BE49-F238E27FC236}">
                <a16:creationId xmlns:a16="http://schemas.microsoft.com/office/drawing/2014/main" id="{08B7DBA6-93B3-4E71-9EF2-C2CE9DFC4B18}"/>
              </a:ext>
            </a:extLst>
          </p:cNvPr>
          <p:cNvSpPr txBox="1"/>
          <p:nvPr/>
        </p:nvSpPr>
        <p:spPr>
          <a:xfrm>
            <a:off x="4482891" y="3713834"/>
            <a:ext cx="196553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u="sng" dirty="0"/>
              <a:t>Eylem: (E.12.2.1)</a:t>
            </a:r>
          </a:p>
          <a:p>
            <a:r>
              <a:rPr lang="tr-TR" sz="14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99294CBD-6176-460B-A14F-F29E45360368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5563977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>
            <a:off x="5640424" y="784908"/>
            <a:ext cx="4048594" cy="8521970"/>
            <a:chOff x="5762804" y="703790"/>
            <a:chExt cx="4048594" cy="8521969"/>
          </a:xfrm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376383">
              <a:off x="6260973" y="1019238"/>
              <a:ext cx="3550425" cy="8206521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  <a:gd name="connsiteX0" fmla="*/ 0 w 3234119"/>
                <a:gd name="connsiteY0" fmla="*/ 7071554 h 7779586"/>
                <a:gd name="connsiteX1" fmla="*/ 2427841 w 3234119"/>
                <a:gd name="connsiteY1" fmla="*/ 0 h 7779586"/>
                <a:gd name="connsiteX2" fmla="*/ 2568030 w 3234119"/>
                <a:gd name="connsiteY2" fmla="*/ 0 h 7779586"/>
                <a:gd name="connsiteX3" fmla="*/ 3234119 w 3234119"/>
                <a:gd name="connsiteY3" fmla="*/ 7779587 h 7779586"/>
                <a:gd name="connsiteX4" fmla="*/ 0 w 3234119"/>
                <a:gd name="connsiteY4" fmla="*/ 7071554 h 7779586"/>
                <a:gd name="connsiteX0" fmla="*/ 0 w 3351050"/>
                <a:gd name="connsiteY0" fmla="*/ 7071554 h 7534191"/>
                <a:gd name="connsiteX1" fmla="*/ 2427841 w 3351050"/>
                <a:gd name="connsiteY1" fmla="*/ 0 h 7534191"/>
                <a:gd name="connsiteX2" fmla="*/ 2568030 w 3351050"/>
                <a:gd name="connsiteY2" fmla="*/ 0 h 7534191"/>
                <a:gd name="connsiteX3" fmla="*/ 3351050 w 3351050"/>
                <a:gd name="connsiteY3" fmla="*/ 7534191 h 7534191"/>
                <a:gd name="connsiteX4" fmla="*/ 0 w 3351050"/>
                <a:gd name="connsiteY4" fmla="*/ 7071554 h 7534191"/>
                <a:gd name="connsiteX0" fmla="*/ 0 w 3466759"/>
                <a:gd name="connsiteY0" fmla="*/ 7071554 h 7403325"/>
                <a:gd name="connsiteX1" fmla="*/ 2427841 w 3466759"/>
                <a:gd name="connsiteY1" fmla="*/ 0 h 7403325"/>
                <a:gd name="connsiteX2" fmla="*/ 2568030 w 3466759"/>
                <a:gd name="connsiteY2" fmla="*/ 0 h 7403325"/>
                <a:gd name="connsiteX3" fmla="*/ 3466759 w 3466759"/>
                <a:gd name="connsiteY3" fmla="*/ 7403325 h 7403325"/>
                <a:gd name="connsiteX4" fmla="*/ 0 w 3466759"/>
                <a:gd name="connsiteY4" fmla="*/ 7071554 h 7403325"/>
                <a:gd name="connsiteX0" fmla="*/ 0 w 2965942"/>
                <a:gd name="connsiteY0" fmla="*/ 5726228 h 7403325"/>
                <a:gd name="connsiteX1" fmla="*/ 1927024 w 2965942"/>
                <a:gd name="connsiteY1" fmla="*/ 0 h 7403325"/>
                <a:gd name="connsiteX2" fmla="*/ 2067213 w 2965942"/>
                <a:gd name="connsiteY2" fmla="*/ 0 h 7403325"/>
                <a:gd name="connsiteX3" fmla="*/ 2965942 w 2965942"/>
                <a:gd name="connsiteY3" fmla="*/ 7403325 h 7403325"/>
                <a:gd name="connsiteX4" fmla="*/ 0 w 2965942"/>
                <a:gd name="connsiteY4" fmla="*/ 5726228 h 7403325"/>
                <a:gd name="connsiteX0" fmla="*/ 0 w 2537333"/>
                <a:gd name="connsiteY0" fmla="*/ 5726228 h 8256463"/>
                <a:gd name="connsiteX1" fmla="*/ 1927024 w 2537333"/>
                <a:gd name="connsiteY1" fmla="*/ 0 h 8256463"/>
                <a:gd name="connsiteX2" fmla="*/ 2067213 w 2537333"/>
                <a:gd name="connsiteY2" fmla="*/ 0 h 8256463"/>
                <a:gd name="connsiteX3" fmla="*/ 2537333 w 2537333"/>
                <a:gd name="connsiteY3" fmla="*/ 8256463 h 8256463"/>
                <a:gd name="connsiteX4" fmla="*/ 0 w 2537333"/>
                <a:gd name="connsiteY4" fmla="*/ 5726228 h 8256463"/>
                <a:gd name="connsiteX0" fmla="*/ 0 w 2513528"/>
                <a:gd name="connsiteY0" fmla="*/ 5298708 h 8256463"/>
                <a:gd name="connsiteX1" fmla="*/ 1903219 w 2513528"/>
                <a:gd name="connsiteY1" fmla="*/ 0 h 8256463"/>
                <a:gd name="connsiteX2" fmla="*/ 2043408 w 2513528"/>
                <a:gd name="connsiteY2" fmla="*/ 0 h 8256463"/>
                <a:gd name="connsiteX3" fmla="*/ 2513528 w 2513528"/>
                <a:gd name="connsiteY3" fmla="*/ 8256463 h 8256463"/>
                <a:gd name="connsiteX4" fmla="*/ 0 w 2513528"/>
                <a:gd name="connsiteY4" fmla="*/ 5298708 h 8256463"/>
                <a:gd name="connsiteX0" fmla="*/ 0 w 2898847"/>
                <a:gd name="connsiteY0" fmla="*/ 5298708 h 12336233"/>
                <a:gd name="connsiteX1" fmla="*/ 1903219 w 2898847"/>
                <a:gd name="connsiteY1" fmla="*/ 0 h 12336233"/>
                <a:gd name="connsiteX2" fmla="*/ 2043408 w 2898847"/>
                <a:gd name="connsiteY2" fmla="*/ 0 h 12336233"/>
                <a:gd name="connsiteX3" fmla="*/ 2898847 w 2898847"/>
                <a:gd name="connsiteY3" fmla="*/ 12336233 h 12336233"/>
                <a:gd name="connsiteX4" fmla="*/ 0 w 2898847"/>
                <a:gd name="connsiteY4" fmla="*/ 5298708 h 12336233"/>
                <a:gd name="connsiteX0" fmla="*/ 0 w 3550425"/>
                <a:gd name="connsiteY0" fmla="*/ 9636755 h 12336233"/>
                <a:gd name="connsiteX1" fmla="*/ 2554797 w 3550425"/>
                <a:gd name="connsiteY1" fmla="*/ 0 h 12336233"/>
                <a:gd name="connsiteX2" fmla="*/ 2694986 w 3550425"/>
                <a:gd name="connsiteY2" fmla="*/ 0 h 12336233"/>
                <a:gd name="connsiteX3" fmla="*/ 3550425 w 3550425"/>
                <a:gd name="connsiteY3" fmla="*/ 12336233 h 12336233"/>
                <a:gd name="connsiteX4" fmla="*/ 0 w 3550425"/>
                <a:gd name="connsiteY4" fmla="*/ 9636755 h 12336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550425" h="12336233">
                  <a:moveTo>
                    <a:pt x="0" y="9636755"/>
                  </a:moveTo>
                  <a:lnTo>
                    <a:pt x="2554797" y="0"/>
                  </a:lnTo>
                  <a:lnTo>
                    <a:pt x="2694986" y="0"/>
                  </a:lnTo>
                  <a:lnTo>
                    <a:pt x="3550425" y="12336233"/>
                  </a:lnTo>
                  <a:lnTo>
                    <a:pt x="0" y="9636755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5762804" y="703790"/>
              <a:ext cx="782709" cy="782709"/>
            </a:xfrm>
            <a:prstGeom prst="rect">
              <a:avLst/>
            </a:prstGeom>
          </p:spPr>
        </p:pic>
      </p:grpSp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8" name="Metin kutusu 7">
            <a:extLst>
              <a:ext uri="{FF2B5EF4-FFF2-40B4-BE49-F238E27FC236}">
                <a16:creationId xmlns:a16="http://schemas.microsoft.com/office/drawing/2014/main" id="{6D5BEC39-514A-4C35-8EF8-47203157200C}"/>
              </a:ext>
            </a:extLst>
          </p:cNvPr>
          <p:cNvSpPr txBox="1"/>
          <p:nvPr/>
        </p:nvSpPr>
        <p:spPr>
          <a:xfrm rot="19287107">
            <a:off x="1471397" y="2438393"/>
            <a:ext cx="313841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/>
              <a:t>Eylem</a:t>
            </a:r>
          </a:p>
          <a:p>
            <a:r>
              <a:rPr lang="tr-TR" sz="1400" b="1" dirty="0"/>
              <a:t>E.12.2.1</a:t>
            </a:r>
          </a:p>
          <a:p>
            <a:r>
              <a:rPr lang="tr-TR" sz="14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7" name="Metin kutusu 6">
            <a:extLst>
              <a:ext uri="{FF2B5EF4-FFF2-40B4-BE49-F238E27FC236}">
                <a16:creationId xmlns:a16="http://schemas.microsoft.com/office/drawing/2014/main" id="{031FBAA7-C82A-4A0E-A889-E84AA11E4B2A}"/>
              </a:ext>
            </a:extLst>
          </p:cNvPr>
          <p:cNvSpPr txBox="1"/>
          <p:nvPr/>
        </p:nvSpPr>
        <p:spPr>
          <a:xfrm>
            <a:off x="6890717" y="4083167"/>
            <a:ext cx="2338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Sorumlu Birim</a:t>
            </a:r>
          </a:p>
          <a:p>
            <a:r>
              <a:rPr lang="tr-TR" dirty="0"/>
              <a:t>Merkez Birimler</a:t>
            </a:r>
          </a:p>
        </p:txBody>
      </p: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013B346A-5D57-456E-A49B-B815B45355EE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6644808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 rot="19737585">
            <a:off x="6853305" y="-195053"/>
            <a:ext cx="3714214" cy="8082713"/>
            <a:chOff x="5094516" y="703790"/>
            <a:chExt cx="3714214" cy="8082712"/>
          </a:xfrm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376383">
              <a:off x="5094516" y="1696939"/>
              <a:ext cx="3714214" cy="7089563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  <a:gd name="connsiteX0" fmla="*/ 0 w 3234119"/>
                <a:gd name="connsiteY0" fmla="*/ 7071554 h 7779586"/>
                <a:gd name="connsiteX1" fmla="*/ 2427841 w 3234119"/>
                <a:gd name="connsiteY1" fmla="*/ 0 h 7779586"/>
                <a:gd name="connsiteX2" fmla="*/ 2568030 w 3234119"/>
                <a:gd name="connsiteY2" fmla="*/ 0 h 7779586"/>
                <a:gd name="connsiteX3" fmla="*/ 3234119 w 3234119"/>
                <a:gd name="connsiteY3" fmla="*/ 7779587 h 7779586"/>
                <a:gd name="connsiteX4" fmla="*/ 0 w 3234119"/>
                <a:gd name="connsiteY4" fmla="*/ 7071554 h 7779586"/>
                <a:gd name="connsiteX0" fmla="*/ 0 w 3351050"/>
                <a:gd name="connsiteY0" fmla="*/ 7071554 h 7534191"/>
                <a:gd name="connsiteX1" fmla="*/ 2427841 w 3351050"/>
                <a:gd name="connsiteY1" fmla="*/ 0 h 7534191"/>
                <a:gd name="connsiteX2" fmla="*/ 2568030 w 3351050"/>
                <a:gd name="connsiteY2" fmla="*/ 0 h 7534191"/>
                <a:gd name="connsiteX3" fmla="*/ 3351050 w 3351050"/>
                <a:gd name="connsiteY3" fmla="*/ 7534191 h 7534191"/>
                <a:gd name="connsiteX4" fmla="*/ 0 w 3351050"/>
                <a:gd name="connsiteY4" fmla="*/ 7071554 h 7534191"/>
                <a:gd name="connsiteX0" fmla="*/ 0 w 3466759"/>
                <a:gd name="connsiteY0" fmla="*/ 7071554 h 7403325"/>
                <a:gd name="connsiteX1" fmla="*/ 2427841 w 3466759"/>
                <a:gd name="connsiteY1" fmla="*/ 0 h 7403325"/>
                <a:gd name="connsiteX2" fmla="*/ 2568030 w 3466759"/>
                <a:gd name="connsiteY2" fmla="*/ 0 h 7403325"/>
                <a:gd name="connsiteX3" fmla="*/ 3466759 w 3466759"/>
                <a:gd name="connsiteY3" fmla="*/ 7403325 h 7403325"/>
                <a:gd name="connsiteX4" fmla="*/ 0 w 3466759"/>
                <a:gd name="connsiteY4" fmla="*/ 7071554 h 7403325"/>
                <a:gd name="connsiteX0" fmla="*/ 0 w 2965942"/>
                <a:gd name="connsiteY0" fmla="*/ 5726228 h 7403325"/>
                <a:gd name="connsiteX1" fmla="*/ 1927024 w 2965942"/>
                <a:gd name="connsiteY1" fmla="*/ 0 h 7403325"/>
                <a:gd name="connsiteX2" fmla="*/ 2067213 w 2965942"/>
                <a:gd name="connsiteY2" fmla="*/ 0 h 7403325"/>
                <a:gd name="connsiteX3" fmla="*/ 2965942 w 2965942"/>
                <a:gd name="connsiteY3" fmla="*/ 7403325 h 7403325"/>
                <a:gd name="connsiteX4" fmla="*/ 0 w 2965942"/>
                <a:gd name="connsiteY4" fmla="*/ 5726228 h 7403325"/>
                <a:gd name="connsiteX0" fmla="*/ 0 w 2537333"/>
                <a:gd name="connsiteY0" fmla="*/ 5726228 h 8256463"/>
                <a:gd name="connsiteX1" fmla="*/ 1927024 w 2537333"/>
                <a:gd name="connsiteY1" fmla="*/ 0 h 8256463"/>
                <a:gd name="connsiteX2" fmla="*/ 2067213 w 2537333"/>
                <a:gd name="connsiteY2" fmla="*/ 0 h 8256463"/>
                <a:gd name="connsiteX3" fmla="*/ 2537333 w 2537333"/>
                <a:gd name="connsiteY3" fmla="*/ 8256463 h 8256463"/>
                <a:gd name="connsiteX4" fmla="*/ 0 w 2537333"/>
                <a:gd name="connsiteY4" fmla="*/ 5726228 h 8256463"/>
                <a:gd name="connsiteX0" fmla="*/ 0 w 2513528"/>
                <a:gd name="connsiteY0" fmla="*/ 5298708 h 8256463"/>
                <a:gd name="connsiteX1" fmla="*/ 1903219 w 2513528"/>
                <a:gd name="connsiteY1" fmla="*/ 0 h 8256463"/>
                <a:gd name="connsiteX2" fmla="*/ 2043408 w 2513528"/>
                <a:gd name="connsiteY2" fmla="*/ 0 h 8256463"/>
                <a:gd name="connsiteX3" fmla="*/ 2513528 w 2513528"/>
                <a:gd name="connsiteY3" fmla="*/ 8256463 h 8256463"/>
                <a:gd name="connsiteX4" fmla="*/ 0 w 2513528"/>
                <a:gd name="connsiteY4" fmla="*/ 5298708 h 8256463"/>
                <a:gd name="connsiteX0" fmla="*/ 0 w 2043408"/>
                <a:gd name="connsiteY0" fmla="*/ 5298708 h 7800971"/>
                <a:gd name="connsiteX1" fmla="*/ 1903219 w 2043408"/>
                <a:gd name="connsiteY1" fmla="*/ 0 h 7800971"/>
                <a:gd name="connsiteX2" fmla="*/ 2043408 w 2043408"/>
                <a:gd name="connsiteY2" fmla="*/ 0 h 7800971"/>
                <a:gd name="connsiteX3" fmla="*/ 1803151 w 2043408"/>
                <a:gd name="connsiteY3" fmla="*/ 7800972 h 7800971"/>
                <a:gd name="connsiteX4" fmla="*/ 0 w 2043408"/>
                <a:gd name="connsiteY4" fmla="*/ 5298708 h 7800971"/>
                <a:gd name="connsiteX0" fmla="*/ 0 w 1726422"/>
                <a:gd name="connsiteY0" fmla="*/ 4078376 h 7800973"/>
                <a:gd name="connsiteX1" fmla="*/ 1586233 w 1726422"/>
                <a:gd name="connsiteY1" fmla="*/ 0 h 7800973"/>
                <a:gd name="connsiteX2" fmla="*/ 1726422 w 1726422"/>
                <a:gd name="connsiteY2" fmla="*/ 0 h 7800973"/>
                <a:gd name="connsiteX3" fmla="*/ 1486165 w 1726422"/>
                <a:gd name="connsiteY3" fmla="*/ 7800972 h 7800973"/>
                <a:gd name="connsiteX4" fmla="*/ 0 w 1726422"/>
                <a:gd name="connsiteY4" fmla="*/ 4078376 h 7800973"/>
                <a:gd name="connsiteX0" fmla="*/ 0 w 1726422"/>
                <a:gd name="connsiteY0" fmla="*/ 4078376 h 8492496"/>
                <a:gd name="connsiteX1" fmla="*/ 1586233 w 1726422"/>
                <a:gd name="connsiteY1" fmla="*/ 0 h 8492496"/>
                <a:gd name="connsiteX2" fmla="*/ 1726422 w 1726422"/>
                <a:gd name="connsiteY2" fmla="*/ 0 h 8492496"/>
                <a:gd name="connsiteX3" fmla="*/ 1397336 w 1726422"/>
                <a:gd name="connsiteY3" fmla="*/ 8492496 h 8492496"/>
                <a:gd name="connsiteX4" fmla="*/ 0 w 1726422"/>
                <a:gd name="connsiteY4" fmla="*/ 4078376 h 8492496"/>
                <a:gd name="connsiteX0" fmla="*/ 0 w 1726422"/>
                <a:gd name="connsiteY0" fmla="*/ 4078376 h 10122795"/>
                <a:gd name="connsiteX1" fmla="*/ 1586233 w 1726422"/>
                <a:gd name="connsiteY1" fmla="*/ 0 h 10122795"/>
                <a:gd name="connsiteX2" fmla="*/ 1726422 w 1726422"/>
                <a:gd name="connsiteY2" fmla="*/ 0 h 10122795"/>
                <a:gd name="connsiteX3" fmla="*/ 1227623 w 1726422"/>
                <a:gd name="connsiteY3" fmla="*/ 10122795 h 10122795"/>
                <a:gd name="connsiteX4" fmla="*/ 0 w 1726422"/>
                <a:gd name="connsiteY4" fmla="*/ 4078376 h 10122795"/>
                <a:gd name="connsiteX0" fmla="*/ 0 w 3714214"/>
                <a:gd name="connsiteY0" fmla="*/ 10541781 h 10541781"/>
                <a:gd name="connsiteX1" fmla="*/ 3574025 w 3714214"/>
                <a:gd name="connsiteY1" fmla="*/ 0 h 10541781"/>
                <a:gd name="connsiteX2" fmla="*/ 3714214 w 3714214"/>
                <a:gd name="connsiteY2" fmla="*/ 0 h 10541781"/>
                <a:gd name="connsiteX3" fmla="*/ 3215415 w 3714214"/>
                <a:gd name="connsiteY3" fmla="*/ 10122795 h 10541781"/>
                <a:gd name="connsiteX4" fmla="*/ 0 w 3714214"/>
                <a:gd name="connsiteY4" fmla="*/ 10541781 h 10541781"/>
                <a:gd name="connsiteX0" fmla="*/ 0 w 3714214"/>
                <a:gd name="connsiteY0" fmla="*/ 10541781 h 10657195"/>
                <a:gd name="connsiteX1" fmla="*/ 3574025 w 3714214"/>
                <a:gd name="connsiteY1" fmla="*/ 0 h 10657195"/>
                <a:gd name="connsiteX2" fmla="*/ 3714214 w 3714214"/>
                <a:gd name="connsiteY2" fmla="*/ 0 h 10657195"/>
                <a:gd name="connsiteX3" fmla="*/ 3224867 w 3714214"/>
                <a:gd name="connsiteY3" fmla="*/ 10657195 h 10657195"/>
                <a:gd name="connsiteX4" fmla="*/ 0 w 3714214"/>
                <a:gd name="connsiteY4" fmla="*/ 10541781 h 106571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4214" h="10657195">
                  <a:moveTo>
                    <a:pt x="0" y="10541781"/>
                  </a:moveTo>
                  <a:lnTo>
                    <a:pt x="3574025" y="0"/>
                  </a:lnTo>
                  <a:lnTo>
                    <a:pt x="3714214" y="0"/>
                  </a:lnTo>
                  <a:lnTo>
                    <a:pt x="3224867" y="10657195"/>
                  </a:lnTo>
                  <a:lnTo>
                    <a:pt x="0" y="10541781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5762804" y="703790"/>
              <a:ext cx="782709" cy="782709"/>
            </a:xfrm>
            <a:prstGeom prst="rect">
              <a:avLst/>
            </a:prstGeom>
          </p:spPr>
        </p:pic>
      </p:grpSp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sp>
        <p:nvSpPr>
          <p:cNvPr id="30" name="Metin kutusu 29">
            <a:extLst>
              <a:ext uri="{FF2B5EF4-FFF2-40B4-BE49-F238E27FC236}">
                <a16:creationId xmlns:a16="http://schemas.microsoft.com/office/drawing/2014/main" id="{83769568-275E-4D7B-84C2-31B64D07A5F8}"/>
              </a:ext>
            </a:extLst>
          </p:cNvPr>
          <p:cNvSpPr txBox="1"/>
          <p:nvPr/>
        </p:nvSpPr>
        <p:spPr>
          <a:xfrm>
            <a:off x="8885320" y="3270221"/>
            <a:ext cx="2209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Çıktısı</a:t>
            </a:r>
          </a:p>
          <a:p>
            <a:r>
              <a:rPr lang="tr-TR" dirty="0"/>
              <a:t>Eğitim Görselleri</a:t>
            </a:r>
          </a:p>
          <a:p>
            <a:r>
              <a:rPr lang="tr-TR" dirty="0"/>
              <a:t>Katılımcı Listesi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3513E7F5-8739-4FB8-A8A8-0E9EEEB84C34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2670940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 24">
            <a:extLst>
              <a:ext uri="{FF2B5EF4-FFF2-40B4-BE49-F238E27FC236}">
                <a16:creationId xmlns:a16="http://schemas.microsoft.com/office/drawing/2014/main" id="{27AF2899-A3E8-446F-B390-E2B6FF62B010}"/>
              </a:ext>
            </a:extLst>
          </p:cNvPr>
          <p:cNvGrpSpPr/>
          <p:nvPr/>
        </p:nvGrpSpPr>
        <p:grpSpPr>
          <a:xfrm rot="18369461">
            <a:off x="7743749" y="-1221839"/>
            <a:ext cx="2503581" cy="6464647"/>
            <a:chOff x="5762804" y="703790"/>
            <a:chExt cx="2503581" cy="6464646"/>
          </a:xfrm>
        </p:grpSpPr>
        <p:sp>
          <p:nvSpPr>
            <p:cNvPr id="24" name="Yamuk 23">
              <a:extLst>
                <a:ext uri="{FF2B5EF4-FFF2-40B4-BE49-F238E27FC236}">
                  <a16:creationId xmlns:a16="http://schemas.microsoft.com/office/drawing/2014/main" id="{36997111-F838-4E97-B9EB-CC357C3FED5F}"/>
                </a:ext>
              </a:extLst>
            </p:cNvPr>
            <p:cNvSpPr/>
            <p:nvPr/>
          </p:nvSpPr>
          <p:spPr>
            <a:xfrm rot="19376383">
              <a:off x="6739220" y="1145665"/>
              <a:ext cx="1527165" cy="6022771"/>
            </a:xfrm>
            <a:custGeom>
              <a:avLst/>
              <a:gdLst>
                <a:gd name="connsiteX0" fmla="*/ 0 w 2283213"/>
                <a:gd name="connsiteY0" fmla="*/ 4931234 h 4931234"/>
                <a:gd name="connsiteX1" fmla="*/ 1071512 w 2283213"/>
                <a:gd name="connsiteY1" fmla="*/ 0 h 4931234"/>
                <a:gd name="connsiteX2" fmla="*/ 1211701 w 2283213"/>
                <a:gd name="connsiteY2" fmla="*/ 0 h 4931234"/>
                <a:gd name="connsiteX3" fmla="*/ 2283213 w 2283213"/>
                <a:gd name="connsiteY3" fmla="*/ 4931234 h 4931234"/>
                <a:gd name="connsiteX4" fmla="*/ 0 w 2283213"/>
                <a:gd name="connsiteY4" fmla="*/ 4931234 h 4931234"/>
                <a:gd name="connsiteX0" fmla="*/ 0 w 1812464"/>
                <a:gd name="connsiteY0" fmla="*/ 4931234 h 6098808"/>
                <a:gd name="connsiteX1" fmla="*/ 1071512 w 1812464"/>
                <a:gd name="connsiteY1" fmla="*/ 0 h 6098808"/>
                <a:gd name="connsiteX2" fmla="*/ 1211701 w 1812464"/>
                <a:gd name="connsiteY2" fmla="*/ 0 h 6098808"/>
                <a:gd name="connsiteX3" fmla="*/ 1812464 w 1812464"/>
                <a:gd name="connsiteY3" fmla="*/ 6098808 h 6098808"/>
                <a:gd name="connsiteX4" fmla="*/ 0 w 1812464"/>
                <a:gd name="connsiteY4" fmla="*/ 4931234 h 6098808"/>
                <a:gd name="connsiteX0" fmla="*/ 0 w 1760939"/>
                <a:gd name="connsiteY0" fmla="*/ 4430664 h 6098808"/>
                <a:gd name="connsiteX1" fmla="*/ 1019987 w 1760939"/>
                <a:gd name="connsiteY1" fmla="*/ 0 h 6098808"/>
                <a:gd name="connsiteX2" fmla="*/ 1160176 w 1760939"/>
                <a:gd name="connsiteY2" fmla="*/ 0 h 6098808"/>
                <a:gd name="connsiteX3" fmla="*/ 1760939 w 1760939"/>
                <a:gd name="connsiteY3" fmla="*/ 6098808 h 6098808"/>
                <a:gd name="connsiteX4" fmla="*/ 0 w 1760939"/>
                <a:gd name="connsiteY4" fmla="*/ 4430664 h 6098808"/>
                <a:gd name="connsiteX0" fmla="*/ 0 w 1484662"/>
                <a:gd name="connsiteY0" fmla="*/ 4430664 h 6259831"/>
                <a:gd name="connsiteX1" fmla="*/ 1019987 w 1484662"/>
                <a:gd name="connsiteY1" fmla="*/ 0 h 6259831"/>
                <a:gd name="connsiteX2" fmla="*/ 1160176 w 1484662"/>
                <a:gd name="connsiteY2" fmla="*/ 0 h 6259831"/>
                <a:gd name="connsiteX3" fmla="*/ 1484662 w 1484662"/>
                <a:gd name="connsiteY3" fmla="*/ 6259831 h 6259831"/>
                <a:gd name="connsiteX4" fmla="*/ 0 w 1484662"/>
                <a:gd name="connsiteY4" fmla="*/ 4430664 h 6259831"/>
                <a:gd name="connsiteX0" fmla="*/ 0 w 1935951"/>
                <a:gd name="connsiteY0" fmla="*/ 3959857 h 6259831"/>
                <a:gd name="connsiteX1" fmla="*/ 1471276 w 1935951"/>
                <a:gd name="connsiteY1" fmla="*/ 0 h 6259831"/>
                <a:gd name="connsiteX2" fmla="*/ 1611465 w 1935951"/>
                <a:gd name="connsiteY2" fmla="*/ 0 h 6259831"/>
                <a:gd name="connsiteX3" fmla="*/ 1935951 w 1935951"/>
                <a:gd name="connsiteY3" fmla="*/ 6259831 h 6259831"/>
                <a:gd name="connsiteX4" fmla="*/ 0 w 1935951"/>
                <a:gd name="connsiteY4" fmla="*/ 3959857 h 6259831"/>
                <a:gd name="connsiteX0" fmla="*/ 0 w 1786442"/>
                <a:gd name="connsiteY0" fmla="*/ 3828657 h 6259831"/>
                <a:gd name="connsiteX1" fmla="*/ 1321767 w 1786442"/>
                <a:gd name="connsiteY1" fmla="*/ 0 h 6259831"/>
                <a:gd name="connsiteX2" fmla="*/ 1461956 w 1786442"/>
                <a:gd name="connsiteY2" fmla="*/ 0 h 6259831"/>
                <a:gd name="connsiteX3" fmla="*/ 1786442 w 1786442"/>
                <a:gd name="connsiteY3" fmla="*/ 6259831 h 6259831"/>
                <a:gd name="connsiteX4" fmla="*/ 0 w 1786442"/>
                <a:gd name="connsiteY4" fmla="*/ 3828657 h 6259831"/>
                <a:gd name="connsiteX0" fmla="*/ 0 w 1693006"/>
                <a:gd name="connsiteY0" fmla="*/ 3828657 h 6462856"/>
                <a:gd name="connsiteX1" fmla="*/ 1321767 w 1693006"/>
                <a:gd name="connsiteY1" fmla="*/ 0 h 6462856"/>
                <a:gd name="connsiteX2" fmla="*/ 1461956 w 1693006"/>
                <a:gd name="connsiteY2" fmla="*/ 0 h 6462856"/>
                <a:gd name="connsiteX3" fmla="*/ 1693006 w 1693006"/>
                <a:gd name="connsiteY3" fmla="*/ 6462856 h 6462856"/>
                <a:gd name="connsiteX4" fmla="*/ 0 w 1693006"/>
                <a:gd name="connsiteY4" fmla="*/ 3828657 h 6462856"/>
                <a:gd name="connsiteX0" fmla="*/ 0 w 1830562"/>
                <a:gd name="connsiteY0" fmla="*/ 3828657 h 6302107"/>
                <a:gd name="connsiteX1" fmla="*/ 1321767 w 1830562"/>
                <a:gd name="connsiteY1" fmla="*/ 0 h 6302107"/>
                <a:gd name="connsiteX2" fmla="*/ 1461956 w 1830562"/>
                <a:gd name="connsiteY2" fmla="*/ 0 h 6302107"/>
                <a:gd name="connsiteX3" fmla="*/ 1830562 w 1830562"/>
                <a:gd name="connsiteY3" fmla="*/ 6302106 h 6302107"/>
                <a:gd name="connsiteX4" fmla="*/ 0 w 1830562"/>
                <a:gd name="connsiteY4" fmla="*/ 3828657 h 6302107"/>
                <a:gd name="connsiteX0" fmla="*/ 0 w 2080653"/>
                <a:gd name="connsiteY0" fmla="*/ 4304767 h 6302106"/>
                <a:gd name="connsiteX1" fmla="*/ 1571858 w 2080653"/>
                <a:gd name="connsiteY1" fmla="*/ 0 h 6302106"/>
                <a:gd name="connsiteX2" fmla="*/ 1712047 w 2080653"/>
                <a:gd name="connsiteY2" fmla="*/ 0 h 6302106"/>
                <a:gd name="connsiteX3" fmla="*/ 2080653 w 2080653"/>
                <a:gd name="connsiteY3" fmla="*/ 6302106 h 6302106"/>
                <a:gd name="connsiteX4" fmla="*/ 0 w 2080653"/>
                <a:gd name="connsiteY4" fmla="*/ 4304767 h 6302106"/>
                <a:gd name="connsiteX0" fmla="*/ 0 w 1712047"/>
                <a:gd name="connsiteY0" fmla="*/ 4304767 h 7215077"/>
                <a:gd name="connsiteX1" fmla="*/ 1571858 w 1712047"/>
                <a:gd name="connsiteY1" fmla="*/ 0 h 7215077"/>
                <a:gd name="connsiteX2" fmla="*/ 1712047 w 1712047"/>
                <a:gd name="connsiteY2" fmla="*/ 0 h 7215077"/>
                <a:gd name="connsiteX3" fmla="*/ 1505416 w 1712047"/>
                <a:gd name="connsiteY3" fmla="*/ 7215077 h 7215077"/>
                <a:gd name="connsiteX4" fmla="*/ 0 w 1712047"/>
                <a:gd name="connsiteY4" fmla="*/ 4304767 h 7215077"/>
                <a:gd name="connsiteX0" fmla="*/ 0 w 1766403"/>
                <a:gd name="connsiteY0" fmla="*/ 3996878 h 7215077"/>
                <a:gd name="connsiteX1" fmla="*/ 1626214 w 1766403"/>
                <a:gd name="connsiteY1" fmla="*/ 0 h 7215077"/>
                <a:gd name="connsiteX2" fmla="*/ 1766403 w 1766403"/>
                <a:gd name="connsiteY2" fmla="*/ 0 h 7215077"/>
                <a:gd name="connsiteX3" fmla="*/ 1559772 w 1766403"/>
                <a:gd name="connsiteY3" fmla="*/ 7215077 h 7215077"/>
                <a:gd name="connsiteX4" fmla="*/ 0 w 1766403"/>
                <a:gd name="connsiteY4" fmla="*/ 3996878 h 7215077"/>
                <a:gd name="connsiteX0" fmla="*/ 0 w 1766403"/>
                <a:gd name="connsiteY0" fmla="*/ 3996878 h 7472955"/>
                <a:gd name="connsiteX1" fmla="*/ 1626214 w 1766403"/>
                <a:gd name="connsiteY1" fmla="*/ 0 h 7472955"/>
                <a:gd name="connsiteX2" fmla="*/ 1766403 w 1766403"/>
                <a:gd name="connsiteY2" fmla="*/ 0 h 7472955"/>
                <a:gd name="connsiteX3" fmla="*/ 1341888 w 1766403"/>
                <a:gd name="connsiteY3" fmla="*/ 7472956 h 7472955"/>
                <a:gd name="connsiteX4" fmla="*/ 0 w 1766403"/>
                <a:gd name="connsiteY4" fmla="*/ 3996878 h 7472955"/>
                <a:gd name="connsiteX0" fmla="*/ 0 w 1847055"/>
                <a:gd name="connsiteY0" fmla="*/ 7636016 h 7636016"/>
                <a:gd name="connsiteX1" fmla="*/ 1706866 w 1847055"/>
                <a:gd name="connsiteY1" fmla="*/ 0 h 7636016"/>
                <a:gd name="connsiteX2" fmla="*/ 1847055 w 1847055"/>
                <a:gd name="connsiteY2" fmla="*/ 0 h 7636016"/>
                <a:gd name="connsiteX3" fmla="*/ 1422540 w 1847055"/>
                <a:gd name="connsiteY3" fmla="*/ 7472956 h 7636016"/>
                <a:gd name="connsiteX4" fmla="*/ 0 w 1847055"/>
                <a:gd name="connsiteY4" fmla="*/ 7636016 h 7636016"/>
                <a:gd name="connsiteX0" fmla="*/ 0 w 2315317"/>
                <a:gd name="connsiteY0" fmla="*/ 7211901 h 7472955"/>
                <a:gd name="connsiteX1" fmla="*/ 2175128 w 2315317"/>
                <a:gd name="connsiteY1" fmla="*/ 0 h 7472955"/>
                <a:gd name="connsiteX2" fmla="*/ 2315317 w 2315317"/>
                <a:gd name="connsiteY2" fmla="*/ 0 h 7472955"/>
                <a:gd name="connsiteX3" fmla="*/ 1890802 w 2315317"/>
                <a:gd name="connsiteY3" fmla="*/ 7472956 h 7472955"/>
                <a:gd name="connsiteX4" fmla="*/ 0 w 2315317"/>
                <a:gd name="connsiteY4" fmla="*/ 7211901 h 7472955"/>
                <a:gd name="connsiteX0" fmla="*/ 0 w 2568030"/>
                <a:gd name="connsiteY0" fmla="*/ 7071554 h 7472957"/>
                <a:gd name="connsiteX1" fmla="*/ 2427841 w 2568030"/>
                <a:gd name="connsiteY1" fmla="*/ 0 h 7472957"/>
                <a:gd name="connsiteX2" fmla="*/ 2568030 w 2568030"/>
                <a:gd name="connsiteY2" fmla="*/ 0 h 7472957"/>
                <a:gd name="connsiteX3" fmla="*/ 2143515 w 2568030"/>
                <a:gd name="connsiteY3" fmla="*/ 7472956 h 7472957"/>
                <a:gd name="connsiteX4" fmla="*/ 0 w 2568030"/>
                <a:gd name="connsiteY4" fmla="*/ 7071554 h 7472957"/>
                <a:gd name="connsiteX0" fmla="*/ 0 w 2568030"/>
                <a:gd name="connsiteY0" fmla="*/ 7071554 h 7705497"/>
                <a:gd name="connsiteX1" fmla="*/ 2427841 w 2568030"/>
                <a:gd name="connsiteY1" fmla="*/ 0 h 7705497"/>
                <a:gd name="connsiteX2" fmla="*/ 2568030 w 2568030"/>
                <a:gd name="connsiteY2" fmla="*/ 0 h 7705497"/>
                <a:gd name="connsiteX3" fmla="*/ 2536319 w 2568030"/>
                <a:gd name="connsiteY3" fmla="*/ 7705497 h 7705497"/>
                <a:gd name="connsiteX4" fmla="*/ 0 w 2568030"/>
                <a:gd name="connsiteY4" fmla="*/ 7071554 h 7705497"/>
                <a:gd name="connsiteX0" fmla="*/ 0 w 3234119"/>
                <a:gd name="connsiteY0" fmla="*/ 7071554 h 7779586"/>
                <a:gd name="connsiteX1" fmla="*/ 2427841 w 3234119"/>
                <a:gd name="connsiteY1" fmla="*/ 0 h 7779586"/>
                <a:gd name="connsiteX2" fmla="*/ 2568030 w 3234119"/>
                <a:gd name="connsiteY2" fmla="*/ 0 h 7779586"/>
                <a:gd name="connsiteX3" fmla="*/ 3234119 w 3234119"/>
                <a:gd name="connsiteY3" fmla="*/ 7779587 h 7779586"/>
                <a:gd name="connsiteX4" fmla="*/ 0 w 3234119"/>
                <a:gd name="connsiteY4" fmla="*/ 7071554 h 7779586"/>
                <a:gd name="connsiteX0" fmla="*/ 0 w 3351050"/>
                <a:gd name="connsiteY0" fmla="*/ 7071554 h 7534191"/>
                <a:gd name="connsiteX1" fmla="*/ 2427841 w 3351050"/>
                <a:gd name="connsiteY1" fmla="*/ 0 h 7534191"/>
                <a:gd name="connsiteX2" fmla="*/ 2568030 w 3351050"/>
                <a:gd name="connsiteY2" fmla="*/ 0 h 7534191"/>
                <a:gd name="connsiteX3" fmla="*/ 3351050 w 3351050"/>
                <a:gd name="connsiteY3" fmla="*/ 7534191 h 7534191"/>
                <a:gd name="connsiteX4" fmla="*/ 0 w 3351050"/>
                <a:gd name="connsiteY4" fmla="*/ 7071554 h 7534191"/>
                <a:gd name="connsiteX0" fmla="*/ 0 w 3466759"/>
                <a:gd name="connsiteY0" fmla="*/ 7071554 h 7403325"/>
                <a:gd name="connsiteX1" fmla="*/ 2427841 w 3466759"/>
                <a:gd name="connsiteY1" fmla="*/ 0 h 7403325"/>
                <a:gd name="connsiteX2" fmla="*/ 2568030 w 3466759"/>
                <a:gd name="connsiteY2" fmla="*/ 0 h 7403325"/>
                <a:gd name="connsiteX3" fmla="*/ 3466759 w 3466759"/>
                <a:gd name="connsiteY3" fmla="*/ 7403325 h 7403325"/>
                <a:gd name="connsiteX4" fmla="*/ 0 w 3466759"/>
                <a:gd name="connsiteY4" fmla="*/ 7071554 h 7403325"/>
                <a:gd name="connsiteX0" fmla="*/ 0 w 2965942"/>
                <a:gd name="connsiteY0" fmla="*/ 5726228 h 7403325"/>
                <a:gd name="connsiteX1" fmla="*/ 1927024 w 2965942"/>
                <a:gd name="connsiteY1" fmla="*/ 0 h 7403325"/>
                <a:gd name="connsiteX2" fmla="*/ 2067213 w 2965942"/>
                <a:gd name="connsiteY2" fmla="*/ 0 h 7403325"/>
                <a:gd name="connsiteX3" fmla="*/ 2965942 w 2965942"/>
                <a:gd name="connsiteY3" fmla="*/ 7403325 h 7403325"/>
                <a:gd name="connsiteX4" fmla="*/ 0 w 2965942"/>
                <a:gd name="connsiteY4" fmla="*/ 5726228 h 7403325"/>
                <a:gd name="connsiteX0" fmla="*/ 0 w 2537333"/>
                <a:gd name="connsiteY0" fmla="*/ 5726228 h 8256463"/>
                <a:gd name="connsiteX1" fmla="*/ 1927024 w 2537333"/>
                <a:gd name="connsiteY1" fmla="*/ 0 h 8256463"/>
                <a:gd name="connsiteX2" fmla="*/ 2067213 w 2537333"/>
                <a:gd name="connsiteY2" fmla="*/ 0 h 8256463"/>
                <a:gd name="connsiteX3" fmla="*/ 2537333 w 2537333"/>
                <a:gd name="connsiteY3" fmla="*/ 8256463 h 8256463"/>
                <a:gd name="connsiteX4" fmla="*/ 0 w 2537333"/>
                <a:gd name="connsiteY4" fmla="*/ 5726228 h 8256463"/>
                <a:gd name="connsiteX0" fmla="*/ 0 w 2513528"/>
                <a:gd name="connsiteY0" fmla="*/ 5298708 h 8256463"/>
                <a:gd name="connsiteX1" fmla="*/ 1903219 w 2513528"/>
                <a:gd name="connsiteY1" fmla="*/ 0 h 8256463"/>
                <a:gd name="connsiteX2" fmla="*/ 2043408 w 2513528"/>
                <a:gd name="connsiteY2" fmla="*/ 0 h 8256463"/>
                <a:gd name="connsiteX3" fmla="*/ 2513528 w 2513528"/>
                <a:gd name="connsiteY3" fmla="*/ 8256463 h 8256463"/>
                <a:gd name="connsiteX4" fmla="*/ 0 w 2513528"/>
                <a:gd name="connsiteY4" fmla="*/ 5298708 h 8256463"/>
                <a:gd name="connsiteX0" fmla="*/ 0 w 2043408"/>
                <a:gd name="connsiteY0" fmla="*/ 5298708 h 7800971"/>
                <a:gd name="connsiteX1" fmla="*/ 1903219 w 2043408"/>
                <a:gd name="connsiteY1" fmla="*/ 0 h 7800971"/>
                <a:gd name="connsiteX2" fmla="*/ 2043408 w 2043408"/>
                <a:gd name="connsiteY2" fmla="*/ 0 h 7800971"/>
                <a:gd name="connsiteX3" fmla="*/ 1803151 w 2043408"/>
                <a:gd name="connsiteY3" fmla="*/ 7800972 h 7800971"/>
                <a:gd name="connsiteX4" fmla="*/ 0 w 2043408"/>
                <a:gd name="connsiteY4" fmla="*/ 5298708 h 7800971"/>
                <a:gd name="connsiteX0" fmla="*/ 0 w 1726422"/>
                <a:gd name="connsiteY0" fmla="*/ 4078376 h 7800973"/>
                <a:gd name="connsiteX1" fmla="*/ 1586233 w 1726422"/>
                <a:gd name="connsiteY1" fmla="*/ 0 h 7800973"/>
                <a:gd name="connsiteX2" fmla="*/ 1726422 w 1726422"/>
                <a:gd name="connsiteY2" fmla="*/ 0 h 7800973"/>
                <a:gd name="connsiteX3" fmla="*/ 1486165 w 1726422"/>
                <a:gd name="connsiteY3" fmla="*/ 7800972 h 7800973"/>
                <a:gd name="connsiteX4" fmla="*/ 0 w 1726422"/>
                <a:gd name="connsiteY4" fmla="*/ 4078376 h 7800973"/>
                <a:gd name="connsiteX0" fmla="*/ 0 w 1726422"/>
                <a:gd name="connsiteY0" fmla="*/ 4078376 h 8492496"/>
                <a:gd name="connsiteX1" fmla="*/ 1586233 w 1726422"/>
                <a:gd name="connsiteY1" fmla="*/ 0 h 8492496"/>
                <a:gd name="connsiteX2" fmla="*/ 1726422 w 1726422"/>
                <a:gd name="connsiteY2" fmla="*/ 0 h 8492496"/>
                <a:gd name="connsiteX3" fmla="*/ 1397336 w 1726422"/>
                <a:gd name="connsiteY3" fmla="*/ 8492496 h 8492496"/>
                <a:gd name="connsiteX4" fmla="*/ 0 w 1726422"/>
                <a:gd name="connsiteY4" fmla="*/ 4078376 h 8492496"/>
                <a:gd name="connsiteX0" fmla="*/ 0 w 1425177"/>
                <a:gd name="connsiteY0" fmla="*/ 8056917 h 8492496"/>
                <a:gd name="connsiteX1" fmla="*/ 1284988 w 1425177"/>
                <a:gd name="connsiteY1" fmla="*/ 0 h 8492496"/>
                <a:gd name="connsiteX2" fmla="*/ 1425177 w 1425177"/>
                <a:gd name="connsiteY2" fmla="*/ 0 h 8492496"/>
                <a:gd name="connsiteX3" fmla="*/ 1096091 w 1425177"/>
                <a:gd name="connsiteY3" fmla="*/ 8492496 h 8492496"/>
                <a:gd name="connsiteX4" fmla="*/ 0 w 1425177"/>
                <a:gd name="connsiteY4" fmla="*/ 8056917 h 8492496"/>
                <a:gd name="connsiteX0" fmla="*/ 0 w 1527165"/>
                <a:gd name="connsiteY0" fmla="*/ 8092689 h 8492496"/>
                <a:gd name="connsiteX1" fmla="*/ 1386976 w 1527165"/>
                <a:gd name="connsiteY1" fmla="*/ 0 h 8492496"/>
                <a:gd name="connsiteX2" fmla="*/ 1527165 w 1527165"/>
                <a:gd name="connsiteY2" fmla="*/ 0 h 8492496"/>
                <a:gd name="connsiteX3" fmla="*/ 1198079 w 1527165"/>
                <a:gd name="connsiteY3" fmla="*/ 8492496 h 8492496"/>
                <a:gd name="connsiteX4" fmla="*/ 0 w 1527165"/>
                <a:gd name="connsiteY4" fmla="*/ 8092689 h 8492496"/>
                <a:gd name="connsiteX0" fmla="*/ 0 w 1527165"/>
                <a:gd name="connsiteY0" fmla="*/ 8092689 h 8193694"/>
                <a:gd name="connsiteX1" fmla="*/ 1386976 w 1527165"/>
                <a:gd name="connsiteY1" fmla="*/ 0 h 8193694"/>
                <a:gd name="connsiteX2" fmla="*/ 1527165 w 1527165"/>
                <a:gd name="connsiteY2" fmla="*/ 0 h 8193694"/>
                <a:gd name="connsiteX3" fmla="*/ 1480646 w 1527165"/>
                <a:gd name="connsiteY3" fmla="*/ 8193694 h 8193694"/>
                <a:gd name="connsiteX4" fmla="*/ 0 w 1527165"/>
                <a:gd name="connsiteY4" fmla="*/ 8092689 h 8193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27165" h="8193694">
                  <a:moveTo>
                    <a:pt x="0" y="8092689"/>
                  </a:moveTo>
                  <a:lnTo>
                    <a:pt x="1386976" y="0"/>
                  </a:lnTo>
                  <a:lnTo>
                    <a:pt x="1527165" y="0"/>
                  </a:lnTo>
                  <a:lnTo>
                    <a:pt x="1480646" y="8193694"/>
                  </a:lnTo>
                  <a:lnTo>
                    <a:pt x="0" y="8092689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pic>
          <p:nvPicPr>
            <p:cNvPr id="29" name="Grafik 28" descr="El feneri">
              <a:extLst>
                <a:ext uri="{FF2B5EF4-FFF2-40B4-BE49-F238E27FC236}">
                  <a16:creationId xmlns:a16="http://schemas.microsoft.com/office/drawing/2014/main" id="{86879A61-A039-4797-8530-9A7F7B45AF5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6875160">
              <a:off x="5762804" y="703790"/>
              <a:ext cx="782709" cy="782709"/>
            </a:xfrm>
            <a:prstGeom prst="rect">
              <a:avLst/>
            </a:prstGeom>
          </p:spPr>
        </p:pic>
      </p:grpSp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7" name="Metin kutusu 26">
            <a:extLst>
              <a:ext uri="{FF2B5EF4-FFF2-40B4-BE49-F238E27FC236}">
                <a16:creationId xmlns:a16="http://schemas.microsoft.com/office/drawing/2014/main" id="{11AC3982-0646-47AD-A2F3-F28FDD012433}"/>
              </a:ext>
            </a:extLst>
          </p:cNvPr>
          <p:cNvSpPr txBox="1"/>
          <p:nvPr/>
        </p:nvSpPr>
        <p:spPr>
          <a:xfrm>
            <a:off x="9527081" y="1264770"/>
            <a:ext cx="244878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b="1" dirty="0"/>
              <a:t>Eylem Dönemi</a:t>
            </a:r>
          </a:p>
          <a:p>
            <a:r>
              <a:rPr lang="tr-TR" dirty="0"/>
              <a:t>2. Çeyrek Dönem 2024</a:t>
            </a:r>
          </a:p>
        </p:txBody>
      </p:sp>
      <p:sp>
        <p:nvSpPr>
          <p:cNvPr id="26" name="Konuşma Balonu: Oval 25">
            <a:extLst>
              <a:ext uri="{FF2B5EF4-FFF2-40B4-BE49-F238E27FC236}">
                <a16:creationId xmlns:a16="http://schemas.microsoft.com/office/drawing/2014/main" id="{7A09DDDB-93EB-4DC0-B938-30694D63BCB8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2315705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Yamuk 23">
            <a:extLst>
              <a:ext uri="{FF2B5EF4-FFF2-40B4-BE49-F238E27FC236}">
                <a16:creationId xmlns:a16="http://schemas.microsoft.com/office/drawing/2014/main" id="{67755FED-82D7-4FBF-8F6F-76363834B874}"/>
              </a:ext>
            </a:extLst>
          </p:cNvPr>
          <p:cNvSpPr/>
          <p:nvPr/>
        </p:nvSpPr>
        <p:spPr>
          <a:xfrm rot="15999778">
            <a:off x="8102237" y="-1140764"/>
            <a:ext cx="1947212" cy="5930078"/>
          </a:xfrm>
          <a:custGeom>
            <a:avLst/>
            <a:gdLst>
              <a:gd name="connsiteX0" fmla="*/ 0 w 2283213"/>
              <a:gd name="connsiteY0" fmla="*/ 4931234 h 4931234"/>
              <a:gd name="connsiteX1" fmla="*/ 1071512 w 2283213"/>
              <a:gd name="connsiteY1" fmla="*/ 0 h 4931234"/>
              <a:gd name="connsiteX2" fmla="*/ 1211701 w 2283213"/>
              <a:gd name="connsiteY2" fmla="*/ 0 h 4931234"/>
              <a:gd name="connsiteX3" fmla="*/ 2283213 w 2283213"/>
              <a:gd name="connsiteY3" fmla="*/ 4931234 h 4931234"/>
              <a:gd name="connsiteX4" fmla="*/ 0 w 2283213"/>
              <a:gd name="connsiteY4" fmla="*/ 4931234 h 4931234"/>
              <a:gd name="connsiteX0" fmla="*/ 0 w 1812464"/>
              <a:gd name="connsiteY0" fmla="*/ 4931234 h 6098808"/>
              <a:gd name="connsiteX1" fmla="*/ 1071512 w 1812464"/>
              <a:gd name="connsiteY1" fmla="*/ 0 h 6098808"/>
              <a:gd name="connsiteX2" fmla="*/ 1211701 w 1812464"/>
              <a:gd name="connsiteY2" fmla="*/ 0 h 6098808"/>
              <a:gd name="connsiteX3" fmla="*/ 1812464 w 1812464"/>
              <a:gd name="connsiteY3" fmla="*/ 6098808 h 6098808"/>
              <a:gd name="connsiteX4" fmla="*/ 0 w 1812464"/>
              <a:gd name="connsiteY4" fmla="*/ 4931234 h 6098808"/>
              <a:gd name="connsiteX0" fmla="*/ 0 w 1760939"/>
              <a:gd name="connsiteY0" fmla="*/ 4430664 h 6098808"/>
              <a:gd name="connsiteX1" fmla="*/ 1019987 w 1760939"/>
              <a:gd name="connsiteY1" fmla="*/ 0 h 6098808"/>
              <a:gd name="connsiteX2" fmla="*/ 1160176 w 1760939"/>
              <a:gd name="connsiteY2" fmla="*/ 0 h 6098808"/>
              <a:gd name="connsiteX3" fmla="*/ 1760939 w 1760939"/>
              <a:gd name="connsiteY3" fmla="*/ 6098808 h 6098808"/>
              <a:gd name="connsiteX4" fmla="*/ 0 w 1760939"/>
              <a:gd name="connsiteY4" fmla="*/ 4430664 h 6098808"/>
              <a:gd name="connsiteX0" fmla="*/ 0 w 1484662"/>
              <a:gd name="connsiteY0" fmla="*/ 4430664 h 6259831"/>
              <a:gd name="connsiteX1" fmla="*/ 1019987 w 1484662"/>
              <a:gd name="connsiteY1" fmla="*/ 0 h 6259831"/>
              <a:gd name="connsiteX2" fmla="*/ 1160176 w 1484662"/>
              <a:gd name="connsiteY2" fmla="*/ 0 h 6259831"/>
              <a:gd name="connsiteX3" fmla="*/ 1484662 w 1484662"/>
              <a:gd name="connsiteY3" fmla="*/ 6259831 h 6259831"/>
              <a:gd name="connsiteX4" fmla="*/ 0 w 1484662"/>
              <a:gd name="connsiteY4" fmla="*/ 4430664 h 6259831"/>
              <a:gd name="connsiteX0" fmla="*/ 0 w 1935951"/>
              <a:gd name="connsiteY0" fmla="*/ 3959857 h 6259831"/>
              <a:gd name="connsiteX1" fmla="*/ 1471276 w 1935951"/>
              <a:gd name="connsiteY1" fmla="*/ 0 h 6259831"/>
              <a:gd name="connsiteX2" fmla="*/ 1611465 w 1935951"/>
              <a:gd name="connsiteY2" fmla="*/ 0 h 6259831"/>
              <a:gd name="connsiteX3" fmla="*/ 1935951 w 1935951"/>
              <a:gd name="connsiteY3" fmla="*/ 6259831 h 6259831"/>
              <a:gd name="connsiteX4" fmla="*/ 0 w 1935951"/>
              <a:gd name="connsiteY4" fmla="*/ 3959857 h 6259831"/>
              <a:gd name="connsiteX0" fmla="*/ 0 w 1786442"/>
              <a:gd name="connsiteY0" fmla="*/ 3828657 h 6259831"/>
              <a:gd name="connsiteX1" fmla="*/ 1321767 w 1786442"/>
              <a:gd name="connsiteY1" fmla="*/ 0 h 6259831"/>
              <a:gd name="connsiteX2" fmla="*/ 1461956 w 1786442"/>
              <a:gd name="connsiteY2" fmla="*/ 0 h 6259831"/>
              <a:gd name="connsiteX3" fmla="*/ 1786442 w 1786442"/>
              <a:gd name="connsiteY3" fmla="*/ 6259831 h 6259831"/>
              <a:gd name="connsiteX4" fmla="*/ 0 w 1786442"/>
              <a:gd name="connsiteY4" fmla="*/ 3828657 h 6259831"/>
              <a:gd name="connsiteX0" fmla="*/ 0 w 1693006"/>
              <a:gd name="connsiteY0" fmla="*/ 3828657 h 6462856"/>
              <a:gd name="connsiteX1" fmla="*/ 1321767 w 1693006"/>
              <a:gd name="connsiteY1" fmla="*/ 0 h 6462856"/>
              <a:gd name="connsiteX2" fmla="*/ 1461956 w 1693006"/>
              <a:gd name="connsiteY2" fmla="*/ 0 h 6462856"/>
              <a:gd name="connsiteX3" fmla="*/ 1693006 w 1693006"/>
              <a:gd name="connsiteY3" fmla="*/ 6462856 h 6462856"/>
              <a:gd name="connsiteX4" fmla="*/ 0 w 1693006"/>
              <a:gd name="connsiteY4" fmla="*/ 3828657 h 6462856"/>
              <a:gd name="connsiteX0" fmla="*/ 0 w 1830562"/>
              <a:gd name="connsiteY0" fmla="*/ 3828657 h 6302107"/>
              <a:gd name="connsiteX1" fmla="*/ 1321767 w 1830562"/>
              <a:gd name="connsiteY1" fmla="*/ 0 h 6302107"/>
              <a:gd name="connsiteX2" fmla="*/ 1461956 w 1830562"/>
              <a:gd name="connsiteY2" fmla="*/ 0 h 6302107"/>
              <a:gd name="connsiteX3" fmla="*/ 1830562 w 1830562"/>
              <a:gd name="connsiteY3" fmla="*/ 6302106 h 6302107"/>
              <a:gd name="connsiteX4" fmla="*/ 0 w 1830562"/>
              <a:gd name="connsiteY4" fmla="*/ 3828657 h 6302107"/>
              <a:gd name="connsiteX0" fmla="*/ 0 w 2080653"/>
              <a:gd name="connsiteY0" fmla="*/ 4304767 h 6302106"/>
              <a:gd name="connsiteX1" fmla="*/ 1571858 w 2080653"/>
              <a:gd name="connsiteY1" fmla="*/ 0 h 6302106"/>
              <a:gd name="connsiteX2" fmla="*/ 1712047 w 2080653"/>
              <a:gd name="connsiteY2" fmla="*/ 0 h 6302106"/>
              <a:gd name="connsiteX3" fmla="*/ 2080653 w 2080653"/>
              <a:gd name="connsiteY3" fmla="*/ 6302106 h 6302106"/>
              <a:gd name="connsiteX4" fmla="*/ 0 w 2080653"/>
              <a:gd name="connsiteY4" fmla="*/ 4304767 h 6302106"/>
              <a:gd name="connsiteX0" fmla="*/ 0 w 1712047"/>
              <a:gd name="connsiteY0" fmla="*/ 4304767 h 7215077"/>
              <a:gd name="connsiteX1" fmla="*/ 1571858 w 1712047"/>
              <a:gd name="connsiteY1" fmla="*/ 0 h 7215077"/>
              <a:gd name="connsiteX2" fmla="*/ 1712047 w 1712047"/>
              <a:gd name="connsiteY2" fmla="*/ 0 h 7215077"/>
              <a:gd name="connsiteX3" fmla="*/ 1505416 w 1712047"/>
              <a:gd name="connsiteY3" fmla="*/ 7215077 h 7215077"/>
              <a:gd name="connsiteX4" fmla="*/ 0 w 1712047"/>
              <a:gd name="connsiteY4" fmla="*/ 4304767 h 7215077"/>
              <a:gd name="connsiteX0" fmla="*/ 0 w 1766403"/>
              <a:gd name="connsiteY0" fmla="*/ 3996878 h 7215077"/>
              <a:gd name="connsiteX1" fmla="*/ 1626214 w 1766403"/>
              <a:gd name="connsiteY1" fmla="*/ 0 h 7215077"/>
              <a:gd name="connsiteX2" fmla="*/ 1766403 w 1766403"/>
              <a:gd name="connsiteY2" fmla="*/ 0 h 7215077"/>
              <a:gd name="connsiteX3" fmla="*/ 1559772 w 1766403"/>
              <a:gd name="connsiteY3" fmla="*/ 7215077 h 7215077"/>
              <a:gd name="connsiteX4" fmla="*/ 0 w 1766403"/>
              <a:gd name="connsiteY4" fmla="*/ 3996878 h 7215077"/>
              <a:gd name="connsiteX0" fmla="*/ 0 w 1766403"/>
              <a:gd name="connsiteY0" fmla="*/ 3996878 h 7472955"/>
              <a:gd name="connsiteX1" fmla="*/ 1626214 w 1766403"/>
              <a:gd name="connsiteY1" fmla="*/ 0 h 7472955"/>
              <a:gd name="connsiteX2" fmla="*/ 1766403 w 1766403"/>
              <a:gd name="connsiteY2" fmla="*/ 0 h 7472955"/>
              <a:gd name="connsiteX3" fmla="*/ 1341888 w 1766403"/>
              <a:gd name="connsiteY3" fmla="*/ 7472956 h 7472955"/>
              <a:gd name="connsiteX4" fmla="*/ 0 w 1766403"/>
              <a:gd name="connsiteY4" fmla="*/ 3996878 h 7472955"/>
              <a:gd name="connsiteX0" fmla="*/ 0 w 1847055"/>
              <a:gd name="connsiteY0" fmla="*/ 7636016 h 7636016"/>
              <a:gd name="connsiteX1" fmla="*/ 1706866 w 1847055"/>
              <a:gd name="connsiteY1" fmla="*/ 0 h 7636016"/>
              <a:gd name="connsiteX2" fmla="*/ 1847055 w 1847055"/>
              <a:gd name="connsiteY2" fmla="*/ 0 h 7636016"/>
              <a:gd name="connsiteX3" fmla="*/ 1422540 w 1847055"/>
              <a:gd name="connsiteY3" fmla="*/ 7472956 h 7636016"/>
              <a:gd name="connsiteX4" fmla="*/ 0 w 1847055"/>
              <a:gd name="connsiteY4" fmla="*/ 7636016 h 76360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47055" h="7636016">
                <a:moveTo>
                  <a:pt x="0" y="7636016"/>
                </a:moveTo>
                <a:lnTo>
                  <a:pt x="1706866" y="0"/>
                </a:lnTo>
                <a:lnTo>
                  <a:pt x="1847055" y="0"/>
                </a:lnTo>
                <a:lnTo>
                  <a:pt x="1422540" y="7472956"/>
                </a:lnTo>
                <a:lnTo>
                  <a:pt x="0" y="7636016"/>
                </a:lnTo>
                <a:close/>
              </a:path>
            </a:pathLst>
          </a:cu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44" name="Yamuk 23">
            <a:extLst>
              <a:ext uri="{FF2B5EF4-FFF2-40B4-BE49-F238E27FC236}">
                <a16:creationId xmlns:a16="http://schemas.microsoft.com/office/drawing/2014/main" id="{86C30624-0000-46DC-8EB0-C404DE58A3C9}"/>
              </a:ext>
            </a:extLst>
          </p:cNvPr>
          <p:cNvSpPr/>
          <p:nvPr/>
        </p:nvSpPr>
        <p:spPr>
          <a:xfrm rot="19376383">
            <a:off x="6122098" y="1346082"/>
            <a:ext cx="2080653" cy="4662359"/>
          </a:xfrm>
          <a:custGeom>
            <a:avLst/>
            <a:gdLst>
              <a:gd name="connsiteX0" fmla="*/ 0 w 2283213"/>
              <a:gd name="connsiteY0" fmla="*/ 4931234 h 4931234"/>
              <a:gd name="connsiteX1" fmla="*/ 1071512 w 2283213"/>
              <a:gd name="connsiteY1" fmla="*/ 0 h 4931234"/>
              <a:gd name="connsiteX2" fmla="*/ 1211701 w 2283213"/>
              <a:gd name="connsiteY2" fmla="*/ 0 h 4931234"/>
              <a:gd name="connsiteX3" fmla="*/ 2283213 w 2283213"/>
              <a:gd name="connsiteY3" fmla="*/ 4931234 h 4931234"/>
              <a:gd name="connsiteX4" fmla="*/ 0 w 2283213"/>
              <a:gd name="connsiteY4" fmla="*/ 4931234 h 4931234"/>
              <a:gd name="connsiteX0" fmla="*/ 0 w 1812464"/>
              <a:gd name="connsiteY0" fmla="*/ 4931234 h 6098808"/>
              <a:gd name="connsiteX1" fmla="*/ 1071512 w 1812464"/>
              <a:gd name="connsiteY1" fmla="*/ 0 h 6098808"/>
              <a:gd name="connsiteX2" fmla="*/ 1211701 w 1812464"/>
              <a:gd name="connsiteY2" fmla="*/ 0 h 6098808"/>
              <a:gd name="connsiteX3" fmla="*/ 1812464 w 1812464"/>
              <a:gd name="connsiteY3" fmla="*/ 6098808 h 6098808"/>
              <a:gd name="connsiteX4" fmla="*/ 0 w 1812464"/>
              <a:gd name="connsiteY4" fmla="*/ 4931234 h 6098808"/>
              <a:gd name="connsiteX0" fmla="*/ 0 w 1760939"/>
              <a:gd name="connsiteY0" fmla="*/ 4430664 h 6098808"/>
              <a:gd name="connsiteX1" fmla="*/ 1019987 w 1760939"/>
              <a:gd name="connsiteY1" fmla="*/ 0 h 6098808"/>
              <a:gd name="connsiteX2" fmla="*/ 1160176 w 1760939"/>
              <a:gd name="connsiteY2" fmla="*/ 0 h 6098808"/>
              <a:gd name="connsiteX3" fmla="*/ 1760939 w 1760939"/>
              <a:gd name="connsiteY3" fmla="*/ 6098808 h 6098808"/>
              <a:gd name="connsiteX4" fmla="*/ 0 w 1760939"/>
              <a:gd name="connsiteY4" fmla="*/ 4430664 h 6098808"/>
              <a:gd name="connsiteX0" fmla="*/ 0 w 1484662"/>
              <a:gd name="connsiteY0" fmla="*/ 4430664 h 6259831"/>
              <a:gd name="connsiteX1" fmla="*/ 1019987 w 1484662"/>
              <a:gd name="connsiteY1" fmla="*/ 0 h 6259831"/>
              <a:gd name="connsiteX2" fmla="*/ 1160176 w 1484662"/>
              <a:gd name="connsiteY2" fmla="*/ 0 h 6259831"/>
              <a:gd name="connsiteX3" fmla="*/ 1484662 w 1484662"/>
              <a:gd name="connsiteY3" fmla="*/ 6259831 h 6259831"/>
              <a:gd name="connsiteX4" fmla="*/ 0 w 1484662"/>
              <a:gd name="connsiteY4" fmla="*/ 4430664 h 6259831"/>
              <a:gd name="connsiteX0" fmla="*/ 0 w 1935951"/>
              <a:gd name="connsiteY0" fmla="*/ 3959857 h 6259831"/>
              <a:gd name="connsiteX1" fmla="*/ 1471276 w 1935951"/>
              <a:gd name="connsiteY1" fmla="*/ 0 h 6259831"/>
              <a:gd name="connsiteX2" fmla="*/ 1611465 w 1935951"/>
              <a:gd name="connsiteY2" fmla="*/ 0 h 6259831"/>
              <a:gd name="connsiteX3" fmla="*/ 1935951 w 1935951"/>
              <a:gd name="connsiteY3" fmla="*/ 6259831 h 6259831"/>
              <a:gd name="connsiteX4" fmla="*/ 0 w 1935951"/>
              <a:gd name="connsiteY4" fmla="*/ 3959857 h 6259831"/>
              <a:gd name="connsiteX0" fmla="*/ 0 w 1786442"/>
              <a:gd name="connsiteY0" fmla="*/ 3828657 h 6259831"/>
              <a:gd name="connsiteX1" fmla="*/ 1321767 w 1786442"/>
              <a:gd name="connsiteY1" fmla="*/ 0 h 6259831"/>
              <a:gd name="connsiteX2" fmla="*/ 1461956 w 1786442"/>
              <a:gd name="connsiteY2" fmla="*/ 0 h 6259831"/>
              <a:gd name="connsiteX3" fmla="*/ 1786442 w 1786442"/>
              <a:gd name="connsiteY3" fmla="*/ 6259831 h 6259831"/>
              <a:gd name="connsiteX4" fmla="*/ 0 w 1786442"/>
              <a:gd name="connsiteY4" fmla="*/ 3828657 h 6259831"/>
              <a:gd name="connsiteX0" fmla="*/ 0 w 1693006"/>
              <a:gd name="connsiteY0" fmla="*/ 3828657 h 6462856"/>
              <a:gd name="connsiteX1" fmla="*/ 1321767 w 1693006"/>
              <a:gd name="connsiteY1" fmla="*/ 0 h 6462856"/>
              <a:gd name="connsiteX2" fmla="*/ 1461956 w 1693006"/>
              <a:gd name="connsiteY2" fmla="*/ 0 h 6462856"/>
              <a:gd name="connsiteX3" fmla="*/ 1693006 w 1693006"/>
              <a:gd name="connsiteY3" fmla="*/ 6462856 h 6462856"/>
              <a:gd name="connsiteX4" fmla="*/ 0 w 1693006"/>
              <a:gd name="connsiteY4" fmla="*/ 3828657 h 6462856"/>
              <a:gd name="connsiteX0" fmla="*/ 0 w 1830562"/>
              <a:gd name="connsiteY0" fmla="*/ 3828657 h 6302107"/>
              <a:gd name="connsiteX1" fmla="*/ 1321767 w 1830562"/>
              <a:gd name="connsiteY1" fmla="*/ 0 h 6302107"/>
              <a:gd name="connsiteX2" fmla="*/ 1461956 w 1830562"/>
              <a:gd name="connsiteY2" fmla="*/ 0 h 6302107"/>
              <a:gd name="connsiteX3" fmla="*/ 1830562 w 1830562"/>
              <a:gd name="connsiteY3" fmla="*/ 6302106 h 6302107"/>
              <a:gd name="connsiteX4" fmla="*/ 0 w 1830562"/>
              <a:gd name="connsiteY4" fmla="*/ 3828657 h 6302107"/>
              <a:gd name="connsiteX0" fmla="*/ 0 w 2080653"/>
              <a:gd name="connsiteY0" fmla="*/ 4304767 h 6302106"/>
              <a:gd name="connsiteX1" fmla="*/ 1571858 w 2080653"/>
              <a:gd name="connsiteY1" fmla="*/ 0 h 6302106"/>
              <a:gd name="connsiteX2" fmla="*/ 1712047 w 2080653"/>
              <a:gd name="connsiteY2" fmla="*/ 0 h 6302106"/>
              <a:gd name="connsiteX3" fmla="*/ 2080653 w 2080653"/>
              <a:gd name="connsiteY3" fmla="*/ 6302106 h 6302106"/>
              <a:gd name="connsiteX4" fmla="*/ 0 w 2080653"/>
              <a:gd name="connsiteY4" fmla="*/ 4304767 h 6302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0653" h="6302106">
                <a:moveTo>
                  <a:pt x="0" y="4304767"/>
                </a:moveTo>
                <a:lnTo>
                  <a:pt x="1571858" y="0"/>
                </a:lnTo>
                <a:lnTo>
                  <a:pt x="1712047" y="0"/>
                </a:lnTo>
                <a:lnTo>
                  <a:pt x="2080653" y="6302106"/>
                </a:lnTo>
                <a:lnTo>
                  <a:pt x="0" y="4304767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42" name="Yamuk 41">
            <a:extLst>
              <a:ext uri="{FF2B5EF4-FFF2-40B4-BE49-F238E27FC236}">
                <a16:creationId xmlns:a16="http://schemas.microsoft.com/office/drawing/2014/main" id="{CCC8C9E7-7C59-43F0-B464-5ECFC964FE09}"/>
              </a:ext>
            </a:extLst>
          </p:cNvPr>
          <p:cNvSpPr/>
          <p:nvPr/>
        </p:nvSpPr>
        <p:spPr>
          <a:xfrm rot="23689">
            <a:off x="4400450" y="1508470"/>
            <a:ext cx="2848164" cy="3581867"/>
          </a:xfrm>
          <a:prstGeom prst="trapezoid">
            <a:avLst>
              <a:gd name="adj" fmla="val 47828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6" name="Akış Çizelgesi: Ayıkla 30">
            <a:extLst>
              <a:ext uri="{FF2B5EF4-FFF2-40B4-BE49-F238E27FC236}">
                <a16:creationId xmlns:a16="http://schemas.microsoft.com/office/drawing/2014/main" id="{7F499335-F8D4-43F2-8E11-FA4E629B0A06}"/>
              </a:ext>
            </a:extLst>
          </p:cNvPr>
          <p:cNvSpPr/>
          <p:nvPr/>
        </p:nvSpPr>
        <p:spPr>
          <a:xfrm rot="1333652">
            <a:off x="1360299" y="330673"/>
            <a:ext cx="3701611" cy="5591253"/>
          </a:xfrm>
          <a:custGeom>
            <a:avLst/>
            <a:gdLst>
              <a:gd name="connsiteX0" fmla="*/ 0 w 10000"/>
              <a:gd name="connsiteY0" fmla="*/ 10000 h 10000"/>
              <a:gd name="connsiteX1" fmla="*/ 5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0" fmla="*/ 0 w 5000"/>
              <a:gd name="connsiteY0" fmla="*/ 10000 h 23659"/>
              <a:gd name="connsiteX1" fmla="*/ 5000 w 5000"/>
              <a:gd name="connsiteY1" fmla="*/ 0 h 23659"/>
              <a:gd name="connsiteX2" fmla="*/ 3687 w 5000"/>
              <a:gd name="connsiteY2" fmla="*/ 23659 h 23659"/>
              <a:gd name="connsiteX3" fmla="*/ 0 w 5000"/>
              <a:gd name="connsiteY3" fmla="*/ 10000 h 23659"/>
              <a:gd name="connsiteX0" fmla="*/ 0 w 12411"/>
              <a:gd name="connsiteY0" fmla="*/ 8600 h 10000"/>
              <a:gd name="connsiteX1" fmla="*/ 12411 w 12411"/>
              <a:gd name="connsiteY1" fmla="*/ 0 h 10000"/>
              <a:gd name="connsiteX2" fmla="*/ 9785 w 12411"/>
              <a:gd name="connsiteY2" fmla="*/ 10000 h 10000"/>
              <a:gd name="connsiteX3" fmla="*/ 0 w 12411"/>
              <a:gd name="connsiteY3" fmla="*/ 8600 h 10000"/>
              <a:gd name="connsiteX0" fmla="*/ 0 w 12411"/>
              <a:gd name="connsiteY0" fmla="*/ 8600 h 10114"/>
              <a:gd name="connsiteX1" fmla="*/ 12411 w 12411"/>
              <a:gd name="connsiteY1" fmla="*/ 0 h 10114"/>
              <a:gd name="connsiteX2" fmla="*/ 10491 w 12411"/>
              <a:gd name="connsiteY2" fmla="*/ 10114 h 10114"/>
              <a:gd name="connsiteX3" fmla="*/ 0 w 12411"/>
              <a:gd name="connsiteY3" fmla="*/ 8600 h 10114"/>
              <a:gd name="connsiteX0" fmla="*/ 0 w 12411"/>
              <a:gd name="connsiteY0" fmla="*/ 8600 h 10237"/>
              <a:gd name="connsiteX1" fmla="*/ 12411 w 12411"/>
              <a:gd name="connsiteY1" fmla="*/ 0 h 10237"/>
              <a:gd name="connsiteX2" fmla="*/ 11420 w 12411"/>
              <a:gd name="connsiteY2" fmla="*/ 10237 h 10237"/>
              <a:gd name="connsiteX3" fmla="*/ 0 w 12411"/>
              <a:gd name="connsiteY3" fmla="*/ 8600 h 10237"/>
              <a:gd name="connsiteX0" fmla="*/ 0 w 13590"/>
              <a:gd name="connsiteY0" fmla="*/ 8543 h 10237"/>
              <a:gd name="connsiteX1" fmla="*/ 13590 w 13590"/>
              <a:gd name="connsiteY1" fmla="*/ 0 h 10237"/>
              <a:gd name="connsiteX2" fmla="*/ 12599 w 13590"/>
              <a:gd name="connsiteY2" fmla="*/ 10237 h 10237"/>
              <a:gd name="connsiteX3" fmla="*/ 0 w 13590"/>
              <a:gd name="connsiteY3" fmla="*/ 8543 h 10237"/>
              <a:gd name="connsiteX0" fmla="*/ 0 w 13425"/>
              <a:gd name="connsiteY0" fmla="*/ 8650 h 10344"/>
              <a:gd name="connsiteX1" fmla="*/ 13425 w 13425"/>
              <a:gd name="connsiteY1" fmla="*/ 0 h 10344"/>
              <a:gd name="connsiteX2" fmla="*/ 12599 w 13425"/>
              <a:gd name="connsiteY2" fmla="*/ 10344 h 10344"/>
              <a:gd name="connsiteX3" fmla="*/ 0 w 13425"/>
              <a:gd name="connsiteY3" fmla="*/ 8650 h 10344"/>
              <a:gd name="connsiteX0" fmla="*/ 0 w 13740"/>
              <a:gd name="connsiteY0" fmla="*/ 8706 h 10400"/>
              <a:gd name="connsiteX1" fmla="*/ 13740 w 13740"/>
              <a:gd name="connsiteY1" fmla="*/ 0 h 10400"/>
              <a:gd name="connsiteX2" fmla="*/ 12599 w 13740"/>
              <a:gd name="connsiteY2" fmla="*/ 10400 h 10400"/>
              <a:gd name="connsiteX3" fmla="*/ 0 w 13740"/>
              <a:gd name="connsiteY3" fmla="*/ 8706 h 10400"/>
              <a:gd name="connsiteX0" fmla="*/ 0 w 13710"/>
              <a:gd name="connsiteY0" fmla="*/ 8684 h 10378"/>
              <a:gd name="connsiteX1" fmla="*/ 13710 w 13710"/>
              <a:gd name="connsiteY1" fmla="*/ 0 h 10378"/>
              <a:gd name="connsiteX2" fmla="*/ 12599 w 13710"/>
              <a:gd name="connsiteY2" fmla="*/ 10378 h 10378"/>
              <a:gd name="connsiteX3" fmla="*/ 0 w 13710"/>
              <a:gd name="connsiteY3" fmla="*/ 8684 h 10378"/>
              <a:gd name="connsiteX0" fmla="*/ 0 w 13548"/>
              <a:gd name="connsiteY0" fmla="*/ 8737 h 10431"/>
              <a:gd name="connsiteX1" fmla="*/ 13548 w 13548"/>
              <a:gd name="connsiteY1" fmla="*/ 0 h 10431"/>
              <a:gd name="connsiteX2" fmla="*/ 12599 w 13548"/>
              <a:gd name="connsiteY2" fmla="*/ 10431 h 10431"/>
              <a:gd name="connsiteX3" fmla="*/ 0 w 13548"/>
              <a:gd name="connsiteY3" fmla="*/ 8737 h 10431"/>
              <a:gd name="connsiteX0" fmla="*/ 0 w 13499"/>
              <a:gd name="connsiteY0" fmla="*/ 8584 h 10431"/>
              <a:gd name="connsiteX1" fmla="*/ 13499 w 13499"/>
              <a:gd name="connsiteY1" fmla="*/ 0 h 10431"/>
              <a:gd name="connsiteX2" fmla="*/ 12550 w 13499"/>
              <a:gd name="connsiteY2" fmla="*/ 10431 h 10431"/>
              <a:gd name="connsiteX3" fmla="*/ 0 w 13499"/>
              <a:gd name="connsiteY3" fmla="*/ 8584 h 10431"/>
              <a:gd name="connsiteX0" fmla="*/ 0 w 13499"/>
              <a:gd name="connsiteY0" fmla="*/ 8584 h 10837"/>
              <a:gd name="connsiteX1" fmla="*/ 13499 w 13499"/>
              <a:gd name="connsiteY1" fmla="*/ 0 h 10837"/>
              <a:gd name="connsiteX2" fmla="*/ 12259 w 13499"/>
              <a:gd name="connsiteY2" fmla="*/ 10837 h 10837"/>
              <a:gd name="connsiteX3" fmla="*/ 0 w 13499"/>
              <a:gd name="connsiteY3" fmla="*/ 8584 h 10837"/>
              <a:gd name="connsiteX0" fmla="*/ 0 w 13499"/>
              <a:gd name="connsiteY0" fmla="*/ 8584 h 9311"/>
              <a:gd name="connsiteX1" fmla="*/ 13499 w 13499"/>
              <a:gd name="connsiteY1" fmla="*/ 0 h 9311"/>
              <a:gd name="connsiteX2" fmla="*/ 10383 w 13499"/>
              <a:gd name="connsiteY2" fmla="*/ 9311 h 9311"/>
              <a:gd name="connsiteX3" fmla="*/ 0 w 13499"/>
              <a:gd name="connsiteY3" fmla="*/ 8584 h 9311"/>
              <a:gd name="connsiteX0" fmla="*/ 0 w 14932"/>
              <a:gd name="connsiteY0" fmla="*/ 10802 h 10802"/>
              <a:gd name="connsiteX1" fmla="*/ 14932 w 14932"/>
              <a:gd name="connsiteY1" fmla="*/ 0 h 10802"/>
              <a:gd name="connsiteX2" fmla="*/ 12624 w 14932"/>
              <a:gd name="connsiteY2" fmla="*/ 10000 h 10802"/>
              <a:gd name="connsiteX3" fmla="*/ 0 w 14932"/>
              <a:gd name="connsiteY3" fmla="*/ 10802 h 10802"/>
              <a:gd name="connsiteX0" fmla="*/ 0 w 14932"/>
              <a:gd name="connsiteY0" fmla="*/ 10802 h 10878"/>
              <a:gd name="connsiteX1" fmla="*/ 14932 w 14932"/>
              <a:gd name="connsiteY1" fmla="*/ 0 h 10878"/>
              <a:gd name="connsiteX2" fmla="*/ 9657 w 14932"/>
              <a:gd name="connsiteY2" fmla="*/ 10878 h 10878"/>
              <a:gd name="connsiteX3" fmla="*/ 0 w 14932"/>
              <a:gd name="connsiteY3" fmla="*/ 10802 h 10878"/>
              <a:gd name="connsiteX0" fmla="*/ 0 w 14932"/>
              <a:gd name="connsiteY0" fmla="*/ 10802 h 10878"/>
              <a:gd name="connsiteX1" fmla="*/ 14932 w 14932"/>
              <a:gd name="connsiteY1" fmla="*/ 0 h 10878"/>
              <a:gd name="connsiteX2" fmla="*/ 9657 w 14932"/>
              <a:gd name="connsiteY2" fmla="*/ 10878 h 10878"/>
              <a:gd name="connsiteX3" fmla="*/ 0 w 14932"/>
              <a:gd name="connsiteY3" fmla="*/ 10802 h 10878"/>
              <a:gd name="connsiteX0" fmla="*/ 0 w 14932"/>
              <a:gd name="connsiteY0" fmla="*/ 10802 h 10878"/>
              <a:gd name="connsiteX1" fmla="*/ 14932 w 14932"/>
              <a:gd name="connsiteY1" fmla="*/ 0 h 10878"/>
              <a:gd name="connsiteX2" fmla="*/ 9657 w 14932"/>
              <a:gd name="connsiteY2" fmla="*/ 10878 h 10878"/>
              <a:gd name="connsiteX3" fmla="*/ 0 w 14932"/>
              <a:gd name="connsiteY3" fmla="*/ 10802 h 10878"/>
              <a:gd name="connsiteX0" fmla="*/ 0 w 14315"/>
              <a:gd name="connsiteY0" fmla="*/ 8423 h 8499"/>
              <a:gd name="connsiteX1" fmla="*/ 14315 w 14315"/>
              <a:gd name="connsiteY1" fmla="*/ 0 h 8499"/>
              <a:gd name="connsiteX2" fmla="*/ 9657 w 14315"/>
              <a:gd name="connsiteY2" fmla="*/ 8499 h 8499"/>
              <a:gd name="connsiteX3" fmla="*/ 0 w 14315"/>
              <a:gd name="connsiteY3" fmla="*/ 8423 h 8499"/>
              <a:gd name="connsiteX0" fmla="*/ 0 w 10481"/>
              <a:gd name="connsiteY0" fmla="*/ 12644 h 12733"/>
              <a:gd name="connsiteX1" fmla="*/ 10481 w 10481"/>
              <a:gd name="connsiteY1" fmla="*/ 0 h 12733"/>
              <a:gd name="connsiteX2" fmla="*/ 6746 w 10481"/>
              <a:gd name="connsiteY2" fmla="*/ 12733 h 12733"/>
              <a:gd name="connsiteX3" fmla="*/ 0 w 10481"/>
              <a:gd name="connsiteY3" fmla="*/ 12644 h 12733"/>
              <a:gd name="connsiteX0" fmla="*/ 0 w 10481"/>
              <a:gd name="connsiteY0" fmla="*/ 12644 h 12733"/>
              <a:gd name="connsiteX1" fmla="*/ 10481 w 10481"/>
              <a:gd name="connsiteY1" fmla="*/ 0 h 12733"/>
              <a:gd name="connsiteX2" fmla="*/ 6746 w 10481"/>
              <a:gd name="connsiteY2" fmla="*/ 12733 h 12733"/>
              <a:gd name="connsiteX3" fmla="*/ 0 w 10481"/>
              <a:gd name="connsiteY3" fmla="*/ 12644 h 12733"/>
              <a:gd name="connsiteX0" fmla="*/ 0 w 10481"/>
              <a:gd name="connsiteY0" fmla="*/ 12644 h 12854"/>
              <a:gd name="connsiteX1" fmla="*/ 10481 w 10481"/>
              <a:gd name="connsiteY1" fmla="*/ 0 h 12854"/>
              <a:gd name="connsiteX2" fmla="*/ 6880 w 10481"/>
              <a:gd name="connsiteY2" fmla="*/ 12854 h 12854"/>
              <a:gd name="connsiteX3" fmla="*/ 0 w 10481"/>
              <a:gd name="connsiteY3" fmla="*/ 12644 h 12854"/>
              <a:gd name="connsiteX0" fmla="*/ 0 w 10481"/>
              <a:gd name="connsiteY0" fmla="*/ 12644 h 12854"/>
              <a:gd name="connsiteX1" fmla="*/ 10481 w 10481"/>
              <a:gd name="connsiteY1" fmla="*/ 0 h 12854"/>
              <a:gd name="connsiteX2" fmla="*/ 6880 w 10481"/>
              <a:gd name="connsiteY2" fmla="*/ 12854 h 12854"/>
              <a:gd name="connsiteX3" fmla="*/ 0 w 10481"/>
              <a:gd name="connsiteY3" fmla="*/ 12644 h 12854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696 w 12297"/>
              <a:gd name="connsiteY2" fmla="*/ 12854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9951 w 12297"/>
              <a:gd name="connsiteY2" fmla="*/ 13213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9951 w 12297"/>
              <a:gd name="connsiteY2" fmla="*/ 13213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9533 w 12297"/>
              <a:gd name="connsiteY2" fmla="*/ 13093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222 w 12297"/>
              <a:gd name="connsiteY2" fmla="*/ 13429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908 w 12297"/>
              <a:gd name="connsiteY2" fmla="*/ 13632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908 w 12297"/>
              <a:gd name="connsiteY2" fmla="*/ 13632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706 w 12297"/>
              <a:gd name="connsiteY2" fmla="*/ 13370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506 w 12297"/>
              <a:gd name="connsiteY2" fmla="*/ 13427 h 13883"/>
              <a:gd name="connsiteX3" fmla="*/ 0 w 12297"/>
              <a:gd name="connsiteY3" fmla="*/ 13883 h 13883"/>
              <a:gd name="connsiteX0" fmla="*/ 0 w 12297"/>
              <a:gd name="connsiteY0" fmla="*/ 13883 h 13883"/>
              <a:gd name="connsiteX1" fmla="*/ 12297 w 12297"/>
              <a:gd name="connsiteY1" fmla="*/ 0 h 13883"/>
              <a:gd name="connsiteX2" fmla="*/ 8506 w 12297"/>
              <a:gd name="connsiteY2" fmla="*/ 13427 h 13883"/>
              <a:gd name="connsiteX3" fmla="*/ 0 w 12297"/>
              <a:gd name="connsiteY3" fmla="*/ 13883 h 13883"/>
              <a:gd name="connsiteX0" fmla="*/ 0 w 11068"/>
              <a:gd name="connsiteY0" fmla="*/ 11709 h 13427"/>
              <a:gd name="connsiteX1" fmla="*/ 11068 w 11068"/>
              <a:gd name="connsiteY1" fmla="*/ 0 h 13427"/>
              <a:gd name="connsiteX2" fmla="*/ 7277 w 11068"/>
              <a:gd name="connsiteY2" fmla="*/ 13427 h 13427"/>
              <a:gd name="connsiteX3" fmla="*/ 0 w 11068"/>
              <a:gd name="connsiteY3" fmla="*/ 11709 h 13427"/>
              <a:gd name="connsiteX0" fmla="*/ 0 w 11068"/>
              <a:gd name="connsiteY0" fmla="*/ 11709 h 14135"/>
              <a:gd name="connsiteX1" fmla="*/ 11068 w 11068"/>
              <a:gd name="connsiteY1" fmla="*/ 0 h 14135"/>
              <a:gd name="connsiteX2" fmla="*/ 6963 w 11068"/>
              <a:gd name="connsiteY2" fmla="*/ 14135 h 14135"/>
              <a:gd name="connsiteX3" fmla="*/ 0 w 11068"/>
              <a:gd name="connsiteY3" fmla="*/ 11709 h 14135"/>
              <a:gd name="connsiteX0" fmla="*/ 0 w 11068"/>
              <a:gd name="connsiteY0" fmla="*/ 11709 h 14345"/>
              <a:gd name="connsiteX1" fmla="*/ 11068 w 11068"/>
              <a:gd name="connsiteY1" fmla="*/ 0 h 14345"/>
              <a:gd name="connsiteX2" fmla="*/ 6941 w 11068"/>
              <a:gd name="connsiteY2" fmla="*/ 14345 h 14345"/>
              <a:gd name="connsiteX3" fmla="*/ 0 w 11068"/>
              <a:gd name="connsiteY3" fmla="*/ 11709 h 14345"/>
              <a:gd name="connsiteX0" fmla="*/ 0 w 10533"/>
              <a:gd name="connsiteY0" fmla="*/ 10159 h 14345"/>
              <a:gd name="connsiteX1" fmla="*/ 10533 w 10533"/>
              <a:gd name="connsiteY1" fmla="*/ 0 h 14345"/>
              <a:gd name="connsiteX2" fmla="*/ 6406 w 10533"/>
              <a:gd name="connsiteY2" fmla="*/ 14345 h 14345"/>
              <a:gd name="connsiteX3" fmla="*/ 0 w 10533"/>
              <a:gd name="connsiteY3" fmla="*/ 10159 h 14345"/>
              <a:gd name="connsiteX0" fmla="*/ 0 w 10533"/>
              <a:gd name="connsiteY0" fmla="*/ 10159 h 15073"/>
              <a:gd name="connsiteX1" fmla="*/ 10533 w 10533"/>
              <a:gd name="connsiteY1" fmla="*/ 0 h 15073"/>
              <a:gd name="connsiteX2" fmla="*/ 6030 w 10533"/>
              <a:gd name="connsiteY2" fmla="*/ 15073 h 15073"/>
              <a:gd name="connsiteX3" fmla="*/ 0 w 10533"/>
              <a:gd name="connsiteY3" fmla="*/ 10159 h 15073"/>
              <a:gd name="connsiteX0" fmla="*/ 0 w 10533"/>
              <a:gd name="connsiteY0" fmla="*/ 10159 h 15073"/>
              <a:gd name="connsiteX1" fmla="*/ 10533 w 10533"/>
              <a:gd name="connsiteY1" fmla="*/ 0 h 15073"/>
              <a:gd name="connsiteX2" fmla="*/ 6030 w 10533"/>
              <a:gd name="connsiteY2" fmla="*/ 15073 h 15073"/>
              <a:gd name="connsiteX3" fmla="*/ 0 w 10533"/>
              <a:gd name="connsiteY3" fmla="*/ 10159 h 15073"/>
              <a:gd name="connsiteX0" fmla="*/ 0 w 10533"/>
              <a:gd name="connsiteY0" fmla="*/ 10159 h 14918"/>
              <a:gd name="connsiteX1" fmla="*/ 10533 w 10533"/>
              <a:gd name="connsiteY1" fmla="*/ 0 h 14918"/>
              <a:gd name="connsiteX2" fmla="*/ 4846 w 10533"/>
              <a:gd name="connsiteY2" fmla="*/ 14918 h 14918"/>
              <a:gd name="connsiteX3" fmla="*/ 0 w 10533"/>
              <a:gd name="connsiteY3" fmla="*/ 10159 h 14918"/>
              <a:gd name="connsiteX0" fmla="*/ 0 w 10533"/>
              <a:gd name="connsiteY0" fmla="*/ 10159 h 14918"/>
              <a:gd name="connsiteX1" fmla="*/ 10533 w 10533"/>
              <a:gd name="connsiteY1" fmla="*/ 0 h 14918"/>
              <a:gd name="connsiteX2" fmla="*/ 4846 w 10533"/>
              <a:gd name="connsiteY2" fmla="*/ 14918 h 14918"/>
              <a:gd name="connsiteX3" fmla="*/ 0 w 10533"/>
              <a:gd name="connsiteY3" fmla="*/ 10159 h 14918"/>
              <a:gd name="connsiteX0" fmla="*/ 0 w 10533"/>
              <a:gd name="connsiteY0" fmla="*/ 10159 h 14672"/>
              <a:gd name="connsiteX1" fmla="*/ 10533 w 10533"/>
              <a:gd name="connsiteY1" fmla="*/ 0 h 14672"/>
              <a:gd name="connsiteX2" fmla="*/ 4466 w 10533"/>
              <a:gd name="connsiteY2" fmla="*/ 14672 h 14672"/>
              <a:gd name="connsiteX3" fmla="*/ 0 w 10533"/>
              <a:gd name="connsiteY3" fmla="*/ 10159 h 14672"/>
              <a:gd name="connsiteX0" fmla="*/ 0 w 10533"/>
              <a:gd name="connsiteY0" fmla="*/ 10159 h 15219"/>
              <a:gd name="connsiteX1" fmla="*/ 10533 w 10533"/>
              <a:gd name="connsiteY1" fmla="*/ 0 h 15219"/>
              <a:gd name="connsiteX2" fmla="*/ 5566 w 10533"/>
              <a:gd name="connsiteY2" fmla="*/ 15219 h 15219"/>
              <a:gd name="connsiteX3" fmla="*/ 0 w 10533"/>
              <a:gd name="connsiteY3" fmla="*/ 10159 h 15219"/>
              <a:gd name="connsiteX0" fmla="*/ 0 w 10533"/>
              <a:gd name="connsiteY0" fmla="*/ 10159 h 15219"/>
              <a:gd name="connsiteX1" fmla="*/ 10533 w 10533"/>
              <a:gd name="connsiteY1" fmla="*/ 0 h 15219"/>
              <a:gd name="connsiteX2" fmla="*/ 5566 w 10533"/>
              <a:gd name="connsiteY2" fmla="*/ 15219 h 15219"/>
              <a:gd name="connsiteX3" fmla="*/ 0 w 10533"/>
              <a:gd name="connsiteY3" fmla="*/ 10159 h 15219"/>
              <a:gd name="connsiteX0" fmla="*/ 0 w 9901"/>
              <a:gd name="connsiteY0" fmla="*/ 9554 h 14614"/>
              <a:gd name="connsiteX1" fmla="*/ 9901 w 9901"/>
              <a:gd name="connsiteY1" fmla="*/ 0 h 14614"/>
              <a:gd name="connsiteX2" fmla="*/ 5566 w 9901"/>
              <a:gd name="connsiteY2" fmla="*/ 14614 h 14614"/>
              <a:gd name="connsiteX3" fmla="*/ 0 w 9901"/>
              <a:gd name="connsiteY3" fmla="*/ 9554 h 14614"/>
              <a:gd name="connsiteX0" fmla="*/ 0 w 10000"/>
              <a:gd name="connsiteY0" fmla="*/ 6538 h 10000"/>
              <a:gd name="connsiteX1" fmla="*/ 10000 w 10000"/>
              <a:gd name="connsiteY1" fmla="*/ 0 h 10000"/>
              <a:gd name="connsiteX2" fmla="*/ 5622 w 10000"/>
              <a:gd name="connsiteY2" fmla="*/ 10000 h 10000"/>
              <a:gd name="connsiteX3" fmla="*/ 0 w 10000"/>
              <a:gd name="connsiteY3" fmla="*/ 653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00" h="10000">
                <a:moveTo>
                  <a:pt x="0" y="6538"/>
                </a:moveTo>
                <a:lnTo>
                  <a:pt x="10000" y="0"/>
                </a:lnTo>
                <a:cubicBezTo>
                  <a:pt x="5740" y="9898"/>
                  <a:pt x="10511" y="-365"/>
                  <a:pt x="5622" y="10000"/>
                </a:cubicBezTo>
                <a:lnTo>
                  <a:pt x="0" y="653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3" name="Akış Çizelgesi: Ayıkla 30">
            <a:extLst>
              <a:ext uri="{FF2B5EF4-FFF2-40B4-BE49-F238E27FC236}">
                <a16:creationId xmlns:a16="http://schemas.microsoft.com/office/drawing/2014/main" id="{7A0CE2FC-3453-4433-B50A-955451399F5F}"/>
              </a:ext>
            </a:extLst>
          </p:cNvPr>
          <p:cNvSpPr/>
          <p:nvPr/>
        </p:nvSpPr>
        <p:spPr>
          <a:xfrm rot="3875292">
            <a:off x="1493681" y="-1749509"/>
            <a:ext cx="2503465" cy="5767181"/>
          </a:xfrm>
          <a:custGeom>
            <a:avLst/>
            <a:gdLst>
              <a:gd name="connsiteX0" fmla="*/ 0 w 10000"/>
              <a:gd name="connsiteY0" fmla="*/ 10000 h 10000"/>
              <a:gd name="connsiteX1" fmla="*/ 5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0" fmla="*/ 0 w 5000"/>
              <a:gd name="connsiteY0" fmla="*/ 10000 h 23659"/>
              <a:gd name="connsiteX1" fmla="*/ 5000 w 5000"/>
              <a:gd name="connsiteY1" fmla="*/ 0 h 23659"/>
              <a:gd name="connsiteX2" fmla="*/ 3687 w 5000"/>
              <a:gd name="connsiteY2" fmla="*/ 23659 h 23659"/>
              <a:gd name="connsiteX3" fmla="*/ 0 w 5000"/>
              <a:gd name="connsiteY3" fmla="*/ 10000 h 23659"/>
              <a:gd name="connsiteX0" fmla="*/ 0 w 12411"/>
              <a:gd name="connsiteY0" fmla="*/ 8600 h 10000"/>
              <a:gd name="connsiteX1" fmla="*/ 12411 w 12411"/>
              <a:gd name="connsiteY1" fmla="*/ 0 h 10000"/>
              <a:gd name="connsiteX2" fmla="*/ 9785 w 12411"/>
              <a:gd name="connsiteY2" fmla="*/ 10000 h 10000"/>
              <a:gd name="connsiteX3" fmla="*/ 0 w 12411"/>
              <a:gd name="connsiteY3" fmla="*/ 8600 h 10000"/>
              <a:gd name="connsiteX0" fmla="*/ 0 w 12411"/>
              <a:gd name="connsiteY0" fmla="*/ 8600 h 10114"/>
              <a:gd name="connsiteX1" fmla="*/ 12411 w 12411"/>
              <a:gd name="connsiteY1" fmla="*/ 0 h 10114"/>
              <a:gd name="connsiteX2" fmla="*/ 10491 w 12411"/>
              <a:gd name="connsiteY2" fmla="*/ 10114 h 10114"/>
              <a:gd name="connsiteX3" fmla="*/ 0 w 12411"/>
              <a:gd name="connsiteY3" fmla="*/ 8600 h 10114"/>
              <a:gd name="connsiteX0" fmla="*/ 0 w 12411"/>
              <a:gd name="connsiteY0" fmla="*/ 8600 h 10237"/>
              <a:gd name="connsiteX1" fmla="*/ 12411 w 12411"/>
              <a:gd name="connsiteY1" fmla="*/ 0 h 10237"/>
              <a:gd name="connsiteX2" fmla="*/ 11420 w 12411"/>
              <a:gd name="connsiteY2" fmla="*/ 10237 h 10237"/>
              <a:gd name="connsiteX3" fmla="*/ 0 w 12411"/>
              <a:gd name="connsiteY3" fmla="*/ 8600 h 10237"/>
              <a:gd name="connsiteX0" fmla="*/ 0 w 13590"/>
              <a:gd name="connsiteY0" fmla="*/ 8543 h 10237"/>
              <a:gd name="connsiteX1" fmla="*/ 13590 w 13590"/>
              <a:gd name="connsiteY1" fmla="*/ 0 h 10237"/>
              <a:gd name="connsiteX2" fmla="*/ 12599 w 13590"/>
              <a:gd name="connsiteY2" fmla="*/ 10237 h 10237"/>
              <a:gd name="connsiteX3" fmla="*/ 0 w 13590"/>
              <a:gd name="connsiteY3" fmla="*/ 8543 h 10237"/>
              <a:gd name="connsiteX0" fmla="*/ 0 w 13425"/>
              <a:gd name="connsiteY0" fmla="*/ 8650 h 10344"/>
              <a:gd name="connsiteX1" fmla="*/ 13425 w 13425"/>
              <a:gd name="connsiteY1" fmla="*/ 0 h 10344"/>
              <a:gd name="connsiteX2" fmla="*/ 12599 w 13425"/>
              <a:gd name="connsiteY2" fmla="*/ 10344 h 10344"/>
              <a:gd name="connsiteX3" fmla="*/ 0 w 13425"/>
              <a:gd name="connsiteY3" fmla="*/ 8650 h 10344"/>
              <a:gd name="connsiteX0" fmla="*/ 0 w 13740"/>
              <a:gd name="connsiteY0" fmla="*/ 8706 h 10400"/>
              <a:gd name="connsiteX1" fmla="*/ 13740 w 13740"/>
              <a:gd name="connsiteY1" fmla="*/ 0 h 10400"/>
              <a:gd name="connsiteX2" fmla="*/ 12599 w 13740"/>
              <a:gd name="connsiteY2" fmla="*/ 10400 h 10400"/>
              <a:gd name="connsiteX3" fmla="*/ 0 w 13740"/>
              <a:gd name="connsiteY3" fmla="*/ 8706 h 10400"/>
              <a:gd name="connsiteX0" fmla="*/ 0 w 13710"/>
              <a:gd name="connsiteY0" fmla="*/ 8684 h 10378"/>
              <a:gd name="connsiteX1" fmla="*/ 13710 w 13710"/>
              <a:gd name="connsiteY1" fmla="*/ 0 h 10378"/>
              <a:gd name="connsiteX2" fmla="*/ 12599 w 13710"/>
              <a:gd name="connsiteY2" fmla="*/ 10378 h 10378"/>
              <a:gd name="connsiteX3" fmla="*/ 0 w 13710"/>
              <a:gd name="connsiteY3" fmla="*/ 8684 h 10378"/>
              <a:gd name="connsiteX0" fmla="*/ 0 w 13548"/>
              <a:gd name="connsiteY0" fmla="*/ 8737 h 10431"/>
              <a:gd name="connsiteX1" fmla="*/ 13548 w 13548"/>
              <a:gd name="connsiteY1" fmla="*/ 0 h 10431"/>
              <a:gd name="connsiteX2" fmla="*/ 12599 w 13548"/>
              <a:gd name="connsiteY2" fmla="*/ 10431 h 10431"/>
              <a:gd name="connsiteX3" fmla="*/ 0 w 13548"/>
              <a:gd name="connsiteY3" fmla="*/ 8737 h 10431"/>
              <a:gd name="connsiteX0" fmla="*/ 0 w 13499"/>
              <a:gd name="connsiteY0" fmla="*/ 8584 h 10431"/>
              <a:gd name="connsiteX1" fmla="*/ 13499 w 13499"/>
              <a:gd name="connsiteY1" fmla="*/ 0 h 10431"/>
              <a:gd name="connsiteX2" fmla="*/ 12550 w 13499"/>
              <a:gd name="connsiteY2" fmla="*/ 10431 h 10431"/>
              <a:gd name="connsiteX3" fmla="*/ 0 w 13499"/>
              <a:gd name="connsiteY3" fmla="*/ 8584 h 10431"/>
              <a:gd name="connsiteX0" fmla="*/ 0 w 13499"/>
              <a:gd name="connsiteY0" fmla="*/ 8584 h 10837"/>
              <a:gd name="connsiteX1" fmla="*/ 13499 w 13499"/>
              <a:gd name="connsiteY1" fmla="*/ 0 h 10837"/>
              <a:gd name="connsiteX2" fmla="*/ 12259 w 13499"/>
              <a:gd name="connsiteY2" fmla="*/ 10837 h 10837"/>
              <a:gd name="connsiteX3" fmla="*/ 0 w 13499"/>
              <a:gd name="connsiteY3" fmla="*/ 8584 h 10837"/>
              <a:gd name="connsiteX0" fmla="*/ 0 w 13586"/>
              <a:gd name="connsiteY0" fmla="*/ 9204 h 10837"/>
              <a:gd name="connsiteX1" fmla="*/ 13586 w 13586"/>
              <a:gd name="connsiteY1" fmla="*/ 0 h 10837"/>
              <a:gd name="connsiteX2" fmla="*/ 12346 w 13586"/>
              <a:gd name="connsiteY2" fmla="*/ 10837 h 10837"/>
              <a:gd name="connsiteX3" fmla="*/ 0 w 13586"/>
              <a:gd name="connsiteY3" fmla="*/ 9204 h 1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586" h="10837">
                <a:moveTo>
                  <a:pt x="0" y="9204"/>
                </a:moveTo>
                <a:lnTo>
                  <a:pt x="13586" y="0"/>
                </a:lnTo>
                <a:cubicBezTo>
                  <a:pt x="13311" y="3448"/>
                  <a:pt x="12621" y="7389"/>
                  <a:pt x="12346" y="10837"/>
                </a:cubicBezTo>
                <a:lnTo>
                  <a:pt x="0" y="9204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6E2ED7A2-B113-43DE-9DDC-5099CD638D80}"/>
              </a:ext>
            </a:extLst>
          </p:cNvPr>
          <p:cNvSpPr/>
          <p:nvPr/>
        </p:nvSpPr>
        <p:spPr>
          <a:xfrm>
            <a:off x="-65840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CD840F6-B941-427E-8226-4B2FA4727BD1}"/>
              </a:ext>
            </a:extLst>
          </p:cNvPr>
          <p:cNvSpPr/>
          <p:nvPr/>
        </p:nvSpPr>
        <p:spPr>
          <a:xfrm>
            <a:off x="308239" y="5384181"/>
            <a:ext cx="1260000" cy="937325"/>
          </a:xfrm>
          <a:prstGeom prst="ellipse">
            <a:avLst/>
          </a:prstGeom>
          <a:solidFill>
            <a:srgbClr val="9E222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1" name="Dikdörtgen 20">
            <a:extLst>
              <a:ext uri="{FF2B5EF4-FFF2-40B4-BE49-F238E27FC236}">
                <a16:creationId xmlns:a16="http://schemas.microsoft.com/office/drawing/2014/main" id="{F58A8C0B-975E-4135-8A37-E7717D4FFA5A}"/>
              </a:ext>
            </a:extLst>
          </p:cNvPr>
          <p:cNvSpPr/>
          <p:nvPr/>
        </p:nvSpPr>
        <p:spPr>
          <a:xfrm>
            <a:off x="501241" y="568875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2.2.1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8" name="Dikdörtgen 27">
            <a:extLst>
              <a:ext uri="{FF2B5EF4-FFF2-40B4-BE49-F238E27FC236}">
                <a16:creationId xmlns:a16="http://schemas.microsoft.com/office/drawing/2014/main" id="{7FBE9C27-25C8-45AC-A9F7-5DCF7DADF4D0}"/>
              </a:ext>
            </a:extLst>
          </p:cNvPr>
          <p:cNvSpPr/>
          <p:nvPr/>
        </p:nvSpPr>
        <p:spPr>
          <a:xfrm>
            <a:off x="644387" y="1027296"/>
            <a:ext cx="280155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r-TR" sz="1400" b="1" u="sng" dirty="0"/>
              <a:t>Standart-12 (KFS)</a:t>
            </a:r>
          </a:p>
          <a:p>
            <a:r>
              <a:rPr lang="tr-TR" sz="1400" b="1" dirty="0"/>
              <a:t>Bilgi Sistemleri Kontrolleri: </a:t>
            </a:r>
            <a:r>
              <a:rPr lang="tr-TR" sz="1400" dirty="0"/>
              <a:t>İdareler, bilgi sistemlerinin sürekliliğini ve güvenilirliğini sağlamak için gerekli kontrol mekanizmaları geliştirmelidir</a:t>
            </a:r>
          </a:p>
        </p:txBody>
      </p:sp>
      <p:sp>
        <p:nvSpPr>
          <p:cNvPr id="8" name="Metin kutusu 7">
            <a:extLst>
              <a:ext uri="{FF2B5EF4-FFF2-40B4-BE49-F238E27FC236}">
                <a16:creationId xmlns:a16="http://schemas.microsoft.com/office/drawing/2014/main" id="{6D5BEC39-514A-4C35-8EF8-47203157200C}"/>
              </a:ext>
            </a:extLst>
          </p:cNvPr>
          <p:cNvSpPr txBox="1"/>
          <p:nvPr/>
        </p:nvSpPr>
        <p:spPr>
          <a:xfrm rot="21430113">
            <a:off x="1848369" y="2907015"/>
            <a:ext cx="207484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200" b="1" u="sng" dirty="0"/>
              <a:t>Genel Şart: (KFS 12.2)</a:t>
            </a:r>
          </a:p>
          <a:p>
            <a:r>
              <a:rPr lang="tr-TR" sz="1200" dirty="0"/>
              <a:t>Bilgi sistemine veri ve bilgi girişi ile bunlara erişim konusunda yetkilendirmeler yapılmalı, hata ve usulsüzlüklerin önlenmesi, tespit edilmesi ve düzeltilmesini sağlayacak mekanizmalar oluşturulmalıdır.</a:t>
            </a:r>
          </a:p>
        </p:txBody>
      </p:sp>
      <p:sp>
        <p:nvSpPr>
          <p:cNvPr id="9" name="Metin kutusu 8">
            <a:extLst>
              <a:ext uri="{FF2B5EF4-FFF2-40B4-BE49-F238E27FC236}">
                <a16:creationId xmlns:a16="http://schemas.microsoft.com/office/drawing/2014/main" id="{8F4B3C69-80B2-4CD8-82F6-44EA95E1E932}"/>
              </a:ext>
            </a:extLst>
          </p:cNvPr>
          <p:cNvSpPr txBox="1"/>
          <p:nvPr/>
        </p:nvSpPr>
        <p:spPr>
          <a:xfrm>
            <a:off x="4874504" y="3665143"/>
            <a:ext cx="197340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400" b="1" dirty="0"/>
              <a:t>Eylem: (E.12.2.1)</a:t>
            </a:r>
          </a:p>
          <a:p>
            <a:r>
              <a:rPr lang="tr-TR" sz="1400" dirty="0"/>
              <a:t>Bilgi güvenliği yetkilileri tarafından kendi birimlerindeki tüm personele bilgi güvenliği eğitiminin yapılması</a:t>
            </a:r>
          </a:p>
        </p:txBody>
      </p:sp>
      <p:sp>
        <p:nvSpPr>
          <p:cNvPr id="7" name="Metin kutusu 6">
            <a:extLst>
              <a:ext uri="{FF2B5EF4-FFF2-40B4-BE49-F238E27FC236}">
                <a16:creationId xmlns:a16="http://schemas.microsoft.com/office/drawing/2014/main" id="{031FBAA7-C82A-4A0E-A889-E84AA11E4B2A}"/>
              </a:ext>
            </a:extLst>
          </p:cNvPr>
          <p:cNvSpPr txBox="1"/>
          <p:nvPr/>
        </p:nvSpPr>
        <p:spPr>
          <a:xfrm>
            <a:off x="7160171" y="4080838"/>
            <a:ext cx="15821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/>
              <a:t>Sorumlu Birim</a:t>
            </a:r>
          </a:p>
          <a:p>
            <a:r>
              <a:rPr lang="tr-TR" sz="1600" dirty="0"/>
              <a:t>Merkez Birimler</a:t>
            </a:r>
          </a:p>
        </p:txBody>
      </p:sp>
      <p:sp>
        <p:nvSpPr>
          <p:cNvPr id="31" name="Metin kutusu 30">
            <a:extLst>
              <a:ext uri="{FF2B5EF4-FFF2-40B4-BE49-F238E27FC236}">
                <a16:creationId xmlns:a16="http://schemas.microsoft.com/office/drawing/2014/main" id="{CBD5BBC2-D2FE-492F-A479-0C687607F1ED}"/>
              </a:ext>
            </a:extLst>
          </p:cNvPr>
          <p:cNvSpPr txBox="1"/>
          <p:nvPr/>
        </p:nvSpPr>
        <p:spPr>
          <a:xfrm>
            <a:off x="9470116" y="1279879"/>
            <a:ext cx="244878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/>
              <a:t>Eylem Dönemi</a:t>
            </a:r>
          </a:p>
          <a:p>
            <a:r>
              <a:rPr lang="tr-TR" sz="1600" dirty="0"/>
              <a:t>2. Çeyrek Dönem 2024</a:t>
            </a:r>
          </a:p>
        </p:txBody>
      </p:sp>
      <p:sp>
        <p:nvSpPr>
          <p:cNvPr id="48" name="Yamuk 23">
            <a:extLst>
              <a:ext uri="{FF2B5EF4-FFF2-40B4-BE49-F238E27FC236}">
                <a16:creationId xmlns:a16="http://schemas.microsoft.com/office/drawing/2014/main" id="{B9399A90-6EE7-46B5-A418-97FF2EF2D8E7}"/>
              </a:ext>
            </a:extLst>
          </p:cNvPr>
          <p:cNvSpPr/>
          <p:nvPr/>
        </p:nvSpPr>
        <p:spPr>
          <a:xfrm rot="17365733">
            <a:off x="8170505" y="94805"/>
            <a:ext cx="1777276" cy="6062988"/>
          </a:xfrm>
          <a:custGeom>
            <a:avLst/>
            <a:gdLst>
              <a:gd name="connsiteX0" fmla="*/ 0 w 2283213"/>
              <a:gd name="connsiteY0" fmla="*/ 4931234 h 4931234"/>
              <a:gd name="connsiteX1" fmla="*/ 1071512 w 2283213"/>
              <a:gd name="connsiteY1" fmla="*/ 0 h 4931234"/>
              <a:gd name="connsiteX2" fmla="*/ 1211701 w 2283213"/>
              <a:gd name="connsiteY2" fmla="*/ 0 h 4931234"/>
              <a:gd name="connsiteX3" fmla="*/ 2283213 w 2283213"/>
              <a:gd name="connsiteY3" fmla="*/ 4931234 h 4931234"/>
              <a:gd name="connsiteX4" fmla="*/ 0 w 2283213"/>
              <a:gd name="connsiteY4" fmla="*/ 4931234 h 4931234"/>
              <a:gd name="connsiteX0" fmla="*/ 0 w 1812464"/>
              <a:gd name="connsiteY0" fmla="*/ 4931234 h 6098808"/>
              <a:gd name="connsiteX1" fmla="*/ 1071512 w 1812464"/>
              <a:gd name="connsiteY1" fmla="*/ 0 h 6098808"/>
              <a:gd name="connsiteX2" fmla="*/ 1211701 w 1812464"/>
              <a:gd name="connsiteY2" fmla="*/ 0 h 6098808"/>
              <a:gd name="connsiteX3" fmla="*/ 1812464 w 1812464"/>
              <a:gd name="connsiteY3" fmla="*/ 6098808 h 6098808"/>
              <a:gd name="connsiteX4" fmla="*/ 0 w 1812464"/>
              <a:gd name="connsiteY4" fmla="*/ 4931234 h 6098808"/>
              <a:gd name="connsiteX0" fmla="*/ 0 w 1760939"/>
              <a:gd name="connsiteY0" fmla="*/ 4430664 h 6098808"/>
              <a:gd name="connsiteX1" fmla="*/ 1019987 w 1760939"/>
              <a:gd name="connsiteY1" fmla="*/ 0 h 6098808"/>
              <a:gd name="connsiteX2" fmla="*/ 1160176 w 1760939"/>
              <a:gd name="connsiteY2" fmla="*/ 0 h 6098808"/>
              <a:gd name="connsiteX3" fmla="*/ 1760939 w 1760939"/>
              <a:gd name="connsiteY3" fmla="*/ 6098808 h 6098808"/>
              <a:gd name="connsiteX4" fmla="*/ 0 w 1760939"/>
              <a:gd name="connsiteY4" fmla="*/ 4430664 h 6098808"/>
              <a:gd name="connsiteX0" fmla="*/ 0 w 1484662"/>
              <a:gd name="connsiteY0" fmla="*/ 4430664 h 6259831"/>
              <a:gd name="connsiteX1" fmla="*/ 1019987 w 1484662"/>
              <a:gd name="connsiteY1" fmla="*/ 0 h 6259831"/>
              <a:gd name="connsiteX2" fmla="*/ 1160176 w 1484662"/>
              <a:gd name="connsiteY2" fmla="*/ 0 h 6259831"/>
              <a:gd name="connsiteX3" fmla="*/ 1484662 w 1484662"/>
              <a:gd name="connsiteY3" fmla="*/ 6259831 h 6259831"/>
              <a:gd name="connsiteX4" fmla="*/ 0 w 1484662"/>
              <a:gd name="connsiteY4" fmla="*/ 4430664 h 6259831"/>
              <a:gd name="connsiteX0" fmla="*/ 0 w 1935951"/>
              <a:gd name="connsiteY0" fmla="*/ 3959857 h 6259831"/>
              <a:gd name="connsiteX1" fmla="*/ 1471276 w 1935951"/>
              <a:gd name="connsiteY1" fmla="*/ 0 h 6259831"/>
              <a:gd name="connsiteX2" fmla="*/ 1611465 w 1935951"/>
              <a:gd name="connsiteY2" fmla="*/ 0 h 6259831"/>
              <a:gd name="connsiteX3" fmla="*/ 1935951 w 1935951"/>
              <a:gd name="connsiteY3" fmla="*/ 6259831 h 6259831"/>
              <a:gd name="connsiteX4" fmla="*/ 0 w 1935951"/>
              <a:gd name="connsiteY4" fmla="*/ 3959857 h 6259831"/>
              <a:gd name="connsiteX0" fmla="*/ 0 w 1786442"/>
              <a:gd name="connsiteY0" fmla="*/ 3828657 h 6259831"/>
              <a:gd name="connsiteX1" fmla="*/ 1321767 w 1786442"/>
              <a:gd name="connsiteY1" fmla="*/ 0 h 6259831"/>
              <a:gd name="connsiteX2" fmla="*/ 1461956 w 1786442"/>
              <a:gd name="connsiteY2" fmla="*/ 0 h 6259831"/>
              <a:gd name="connsiteX3" fmla="*/ 1786442 w 1786442"/>
              <a:gd name="connsiteY3" fmla="*/ 6259831 h 6259831"/>
              <a:gd name="connsiteX4" fmla="*/ 0 w 1786442"/>
              <a:gd name="connsiteY4" fmla="*/ 3828657 h 6259831"/>
              <a:gd name="connsiteX0" fmla="*/ 0 w 1693006"/>
              <a:gd name="connsiteY0" fmla="*/ 3828657 h 6462856"/>
              <a:gd name="connsiteX1" fmla="*/ 1321767 w 1693006"/>
              <a:gd name="connsiteY1" fmla="*/ 0 h 6462856"/>
              <a:gd name="connsiteX2" fmla="*/ 1461956 w 1693006"/>
              <a:gd name="connsiteY2" fmla="*/ 0 h 6462856"/>
              <a:gd name="connsiteX3" fmla="*/ 1693006 w 1693006"/>
              <a:gd name="connsiteY3" fmla="*/ 6462856 h 6462856"/>
              <a:gd name="connsiteX4" fmla="*/ 0 w 1693006"/>
              <a:gd name="connsiteY4" fmla="*/ 3828657 h 6462856"/>
              <a:gd name="connsiteX0" fmla="*/ 0 w 1830562"/>
              <a:gd name="connsiteY0" fmla="*/ 3828657 h 6302107"/>
              <a:gd name="connsiteX1" fmla="*/ 1321767 w 1830562"/>
              <a:gd name="connsiteY1" fmla="*/ 0 h 6302107"/>
              <a:gd name="connsiteX2" fmla="*/ 1461956 w 1830562"/>
              <a:gd name="connsiteY2" fmla="*/ 0 h 6302107"/>
              <a:gd name="connsiteX3" fmla="*/ 1830562 w 1830562"/>
              <a:gd name="connsiteY3" fmla="*/ 6302106 h 6302107"/>
              <a:gd name="connsiteX4" fmla="*/ 0 w 1830562"/>
              <a:gd name="connsiteY4" fmla="*/ 3828657 h 6302107"/>
              <a:gd name="connsiteX0" fmla="*/ 0 w 2080653"/>
              <a:gd name="connsiteY0" fmla="*/ 4304767 h 6302106"/>
              <a:gd name="connsiteX1" fmla="*/ 1571858 w 2080653"/>
              <a:gd name="connsiteY1" fmla="*/ 0 h 6302106"/>
              <a:gd name="connsiteX2" fmla="*/ 1712047 w 2080653"/>
              <a:gd name="connsiteY2" fmla="*/ 0 h 6302106"/>
              <a:gd name="connsiteX3" fmla="*/ 2080653 w 2080653"/>
              <a:gd name="connsiteY3" fmla="*/ 6302106 h 6302106"/>
              <a:gd name="connsiteX4" fmla="*/ 0 w 2080653"/>
              <a:gd name="connsiteY4" fmla="*/ 4304767 h 6302106"/>
              <a:gd name="connsiteX0" fmla="*/ 0 w 1712047"/>
              <a:gd name="connsiteY0" fmla="*/ 4304767 h 7215077"/>
              <a:gd name="connsiteX1" fmla="*/ 1571858 w 1712047"/>
              <a:gd name="connsiteY1" fmla="*/ 0 h 7215077"/>
              <a:gd name="connsiteX2" fmla="*/ 1712047 w 1712047"/>
              <a:gd name="connsiteY2" fmla="*/ 0 h 7215077"/>
              <a:gd name="connsiteX3" fmla="*/ 1505416 w 1712047"/>
              <a:gd name="connsiteY3" fmla="*/ 7215077 h 7215077"/>
              <a:gd name="connsiteX4" fmla="*/ 0 w 1712047"/>
              <a:gd name="connsiteY4" fmla="*/ 4304767 h 7215077"/>
              <a:gd name="connsiteX0" fmla="*/ 0 w 1766403"/>
              <a:gd name="connsiteY0" fmla="*/ 3996878 h 7215077"/>
              <a:gd name="connsiteX1" fmla="*/ 1626214 w 1766403"/>
              <a:gd name="connsiteY1" fmla="*/ 0 h 7215077"/>
              <a:gd name="connsiteX2" fmla="*/ 1766403 w 1766403"/>
              <a:gd name="connsiteY2" fmla="*/ 0 h 7215077"/>
              <a:gd name="connsiteX3" fmla="*/ 1559772 w 1766403"/>
              <a:gd name="connsiteY3" fmla="*/ 7215077 h 7215077"/>
              <a:gd name="connsiteX4" fmla="*/ 0 w 1766403"/>
              <a:gd name="connsiteY4" fmla="*/ 3996878 h 7215077"/>
              <a:gd name="connsiteX0" fmla="*/ 0 w 1766403"/>
              <a:gd name="connsiteY0" fmla="*/ 3996878 h 7472955"/>
              <a:gd name="connsiteX1" fmla="*/ 1626214 w 1766403"/>
              <a:gd name="connsiteY1" fmla="*/ 0 h 7472955"/>
              <a:gd name="connsiteX2" fmla="*/ 1766403 w 1766403"/>
              <a:gd name="connsiteY2" fmla="*/ 0 h 7472955"/>
              <a:gd name="connsiteX3" fmla="*/ 1341888 w 1766403"/>
              <a:gd name="connsiteY3" fmla="*/ 7472956 h 7472955"/>
              <a:gd name="connsiteX4" fmla="*/ 0 w 1766403"/>
              <a:gd name="connsiteY4" fmla="*/ 3996878 h 7472955"/>
              <a:gd name="connsiteX0" fmla="*/ 0 w 1766403"/>
              <a:gd name="connsiteY0" fmla="*/ 3996878 h 7750874"/>
              <a:gd name="connsiteX1" fmla="*/ 1626214 w 1766403"/>
              <a:gd name="connsiteY1" fmla="*/ 0 h 7750874"/>
              <a:gd name="connsiteX2" fmla="*/ 1766403 w 1766403"/>
              <a:gd name="connsiteY2" fmla="*/ 0 h 7750874"/>
              <a:gd name="connsiteX3" fmla="*/ 835334 w 1766403"/>
              <a:gd name="connsiteY3" fmla="*/ 7750874 h 7750874"/>
              <a:gd name="connsiteX4" fmla="*/ 0 w 1766403"/>
              <a:gd name="connsiteY4" fmla="*/ 3996878 h 7750874"/>
              <a:gd name="connsiteX0" fmla="*/ 0 w 1857298"/>
              <a:gd name="connsiteY0" fmla="*/ 4113027 h 7750874"/>
              <a:gd name="connsiteX1" fmla="*/ 1717109 w 1857298"/>
              <a:gd name="connsiteY1" fmla="*/ 0 h 7750874"/>
              <a:gd name="connsiteX2" fmla="*/ 1857298 w 1857298"/>
              <a:gd name="connsiteY2" fmla="*/ 0 h 7750874"/>
              <a:gd name="connsiteX3" fmla="*/ 926229 w 1857298"/>
              <a:gd name="connsiteY3" fmla="*/ 7750874 h 7750874"/>
              <a:gd name="connsiteX4" fmla="*/ 0 w 1857298"/>
              <a:gd name="connsiteY4" fmla="*/ 4113027 h 7750874"/>
              <a:gd name="connsiteX0" fmla="*/ 0 w 1857298"/>
              <a:gd name="connsiteY0" fmla="*/ 4113027 h 8110858"/>
              <a:gd name="connsiteX1" fmla="*/ 1717109 w 1857298"/>
              <a:gd name="connsiteY1" fmla="*/ 0 h 8110858"/>
              <a:gd name="connsiteX2" fmla="*/ 1857298 w 1857298"/>
              <a:gd name="connsiteY2" fmla="*/ 0 h 8110858"/>
              <a:gd name="connsiteX3" fmla="*/ 1087501 w 1857298"/>
              <a:gd name="connsiteY3" fmla="*/ 8110858 h 8110858"/>
              <a:gd name="connsiteX4" fmla="*/ 0 w 1857298"/>
              <a:gd name="connsiteY4" fmla="*/ 4113027 h 8110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7298" h="8110858">
                <a:moveTo>
                  <a:pt x="0" y="4113027"/>
                </a:moveTo>
                <a:lnTo>
                  <a:pt x="1717109" y="0"/>
                </a:lnTo>
                <a:lnTo>
                  <a:pt x="1857298" y="0"/>
                </a:lnTo>
                <a:lnTo>
                  <a:pt x="1087501" y="8110858"/>
                </a:lnTo>
                <a:lnTo>
                  <a:pt x="0" y="4113027"/>
                </a:lnTo>
                <a:close/>
              </a:path>
            </a:pathLst>
          </a:cu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30" name="Metin kutusu 29">
            <a:extLst>
              <a:ext uri="{FF2B5EF4-FFF2-40B4-BE49-F238E27FC236}">
                <a16:creationId xmlns:a16="http://schemas.microsoft.com/office/drawing/2014/main" id="{56D979ED-3ED8-4000-9CB1-A1FBC102E3CA}"/>
              </a:ext>
            </a:extLst>
          </p:cNvPr>
          <p:cNvSpPr txBox="1"/>
          <p:nvPr/>
        </p:nvSpPr>
        <p:spPr>
          <a:xfrm>
            <a:off x="8742329" y="2970384"/>
            <a:ext cx="220980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r-TR" sz="1600" b="1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600" dirty="0">
                <a:solidFill>
                  <a:schemeClr val="bg1"/>
                </a:solidFill>
              </a:rPr>
              <a:t>Eğitim Görselleri</a:t>
            </a:r>
          </a:p>
          <a:p>
            <a:r>
              <a:rPr lang="tr-TR" sz="1600" dirty="0">
                <a:solidFill>
                  <a:schemeClr val="bg1"/>
                </a:solidFill>
              </a:rPr>
              <a:t>Katılımcı Listesi</a:t>
            </a:r>
          </a:p>
        </p:txBody>
      </p:sp>
      <p:pic>
        <p:nvPicPr>
          <p:cNvPr id="26" name="Resim 25">
            <a:extLst>
              <a:ext uri="{FF2B5EF4-FFF2-40B4-BE49-F238E27FC236}">
                <a16:creationId xmlns:a16="http://schemas.microsoft.com/office/drawing/2014/main" id="{BD68D4C5-80B3-4480-9676-5FE772325A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9197" y="813504"/>
            <a:ext cx="1196248" cy="828895"/>
          </a:xfrm>
          <a:prstGeom prst="rect">
            <a:avLst/>
          </a:prstGeom>
        </p:spPr>
      </p:pic>
      <p:sp>
        <p:nvSpPr>
          <p:cNvPr id="35" name="Konuşma Balonu: Oval 34">
            <a:extLst>
              <a:ext uri="{FF2B5EF4-FFF2-40B4-BE49-F238E27FC236}">
                <a16:creationId xmlns:a16="http://schemas.microsoft.com/office/drawing/2014/main" id="{DBBAFB15-9C41-4CAF-B5AE-39A7142D0DFE}"/>
              </a:ext>
            </a:extLst>
          </p:cNvPr>
          <p:cNvSpPr/>
          <p:nvPr/>
        </p:nvSpPr>
        <p:spPr>
          <a:xfrm>
            <a:off x="3456147" y="318520"/>
            <a:ext cx="527970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FAALİYETLERİ STANDARDI (KF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7781979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dörtgen: Yuvarlatılmış Köşeler 1">
            <a:extLst>
              <a:ext uri="{FF2B5EF4-FFF2-40B4-BE49-F238E27FC236}">
                <a16:creationId xmlns:a16="http://schemas.microsoft.com/office/drawing/2014/main" id="{FD3C9EDC-B036-4D3C-BA84-BBA09AAFECB1}"/>
              </a:ext>
            </a:extLst>
          </p:cNvPr>
          <p:cNvSpPr/>
          <p:nvPr/>
        </p:nvSpPr>
        <p:spPr>
          <a:xfrm>
            <a:off x="501682" y="2429261"/>
            <a:ext cx="306086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400" dirty="0"/>
              <a:t>E.13.7.2</a:t>
            </a:r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F48A0F05-9FEB-409F-B971-491BAA9B1BC4}"/>
              </a:ext>
            </a:extLst>
          </p:cNvPr>
          <p:cNvGrpSpPr/>
          <p:nvPr/>
        </p:nvGrpSpPr>
        <p:grpSpPr>
          <a:xfrm>
            <a:off x="259319" y="1257732"/>
            <a:ext cx="3600000" cy="3600000"/>
            <a:chOff x="4296000" y="1548914"/>
            <a:chExt cx="3600000" cy="3600000"/>
          </a:xfrm>
        </p:grpSpPr>
        <p:sp>
          <p:nvSpPr>
            <p:cNvPr id="5" name="Serbest Form: Şekil 4">
              <a:extLst>
                <a:ext uri="{FF2B5EF4-FFF2-40B4-BE49-F238E27FC236}">
                  <a16:creationId xmlns:a16="http://schemas.microsoft.com/office/drawing/2014/main" id="{A72733A4-6436-4282-831C-BFD32626BD2B}"/>
                </a:ext>
              </a:extLst>
            </p:cNvPr>
            <p:cNvSpPr/>
            <p:nvPr/>
          </p:nvSpPr>
          <p:spPr>
            <a:xfrm>
              <a:off x="4296000" y="154891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6" name="Serbest Form: Şekil 5">
              <a:extLst>
                <a:ext uri="{FF2B5EF4-FFF2-40B4-BE49-F238E27FC236}">
                  <a16:creationId xmlns:a16="http://schemas.microsoft.com/office/drawing/2014/main" id="{25CDE1F1-FDFF-428A-8C2A-CD592C8C0BAA}"/>
                </a:ext>
              </a:extLst>
            </p:cNvPr>
            <p:cNvSpPr/>
            <p:nvPr/>
          </p:nvSpPr>
          <p:spPr>
            <a:xfrm>
              <a:off x="4296000" y="334891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7" name="Grup 6">
              <a:extLst>
                <a:ext uri="{FF2B5EF4-FFF2-40B4-BE49-F238E27FC236}">
                  <a16:creationId xmlns:a16="http://schemas.microsoft.com/office/drawing/2014/main" id="{05ED56F2-BF77-4071-9ECB-AAB2921055DE}"/>
                </a:ext>
              </a:extLst>
            </p:cNvPr>
            <p:cNvGrpSpPr/>
            <p:nvPr/>
          </p:nvGrpSpPr>
          <p:grpSpPr>
            <a:xfrm>
              <a:off x="4296000" y="2448914"/>
              <a:ext cx="1800000" cy="1800000"/>
              <a:chOff x="4296000" y="2117236"/>
              <a:chExt cx="1800000" cy="1800000"/>
            </a:xfrm>
          </p:grpSpPr>
          <p:sp>
            <p:nvSpPr>
              <p:cNvPr id="11" name="Daire: Boş 10">
                <a:extLst>
                  <a:ext uri="{FF2B5EF4-FFF2-40B4-BE49-F238E27FC236}">
                    <a16:creationId xmlns:a16="http://schemas.microsoft.com/office/drawing/2014/main" id="{F43380F9-A6F6-47CF-A143-72A6C4E4A623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9D598955-2152-4455-922D-2CF4D97E0327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8" name="Grup 7">
              <a:extLst>
                <a:ext uri="{FF2B5EF4-FFF2-40B4-BE49-F238E27FC236}">
                  <a16:creationId xmlns:a16="http://schemas.microsoft.com/office/drawing/2014/main" id="{09EA79EC-C01F-4FF5-8D9B-D57FBA40E29B}"/>
                </a:ext>
              </a:extLst>
            </p:cNvPr>
            <p:cNvGrpSpPr/>
            <p:nvPr/>
          </p:nvGrpSpPr>
          <p:grpSpPr>
            <a:xfrm>
              <a:off x="6096000" y="2396988"/>
              <a:ext cx="1800000" cy="1800000"/>
              <a:chOff x="1534499" y="2640201"/>
              <a:chExt cx="1800000" cy="1800000"/>
            </a:xfrm>
          </p:grpSpPr>
          <p:sp>
            <p:nvSpPr>
              <p:cNvPr id="9" name="Daire: Boş 8">
                <a:extLst>
                  <a:ext uri="{FF2B5EF4-FFF2-40B4-BE49-F238E27FC236}">
                    <a16:creationId xmlns:a16="http://schemas.microsoft.com/office/drawing/2014/main" id="{DF2D4B59-D361-41F6-B325-FE1453EC94E6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7D1863C-CD9C-46EB-B650-EB1A157A0AD1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DFEF8306-368B-4D61-A308-5954E9F250F7}"/>
              </a:ext>
            </a:extLst>
          </p:cNvPr>
          <p:cNvSpPr/>
          <p:nvPr/>
        </p:nvSpPr>
        <p:spPr>
          <a:xfrm>
            <a:off x="242541" y="1101932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4" name="Grup 13">
            <a:extLst>
              <a:ext uri="{FF2B5EF4-FFF2-40B4-BE49-F238E27FC236}">
                <a16:creationId xmlns:a16="http://schemas.microsoft.com/office/drawing/2014/main" id="{0393DBDD-D120-41BC-9D23-BC5621365E06}"/>
              </a:ext>
            </a:extLst>
          </p:cNvPr>
          <p:cNvGrpSpPr/>
          <p:nvPr/>
        </p:nvGrpSpPr>
        <p:grpSpPr>
          <a:xfrm>
            <a:off x="259319" y="1301583"/>
            <a:ext cx="3600000" cy="3600000"/>
            <a:chOff x="4296000" y="1550474"/>
            <a:chExt cx="3600000" cy="3600000"/>
          </a:xfrm>
        </p:grpSpPr>
        <p:sp>
          <p:nvSpPr>
            <p:cNvPr id="15" name="Serbest Form: Şekil 14">
              <a:extLst>
                <a:ext uri="{FF2B5EF4-FFF2-40B4-BE49-F238E27FC236}">
                  <a16:creationId xmlns:a16="http://schemas.microsoft.com/office/drawing/2014/main" id="{B812C27D-1E8D-4083-B13A-FB4E1E877757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6" name="Serbest Form: Şekil 15">
              <a:extLst>
                <a:ext uri="{FF2B5EF4-FFF2-40B4-BE49-F238E27FC236}">
                  <a16:creationId xmlns:a16="http://schemas.microsoft.com/office/drawing/2014/main" id="{BCEE6FAE-DD17-4126-BA1C-176670DB50F2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17" name="Grup 16">
              <a:extLst>
                <a:ext uri="{FF2B5EF4-FFF2-40B4-BE49-F238E27FC236}">
                  <a16:creationId xmlns:a16="http://schemas.microsoft.com/office/drawing/2014/main" id="{BB79EFC2-B488-4B42-B67D-26C5928B4027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21" name="Daire: Boş 20">
                <a:extLst>
                  <a:ext uri="{FF2B5EF4-FFF2-40B4-BE49-F238E27FC236}">
                    <a16:creationId xmlns:a16="http://schemas.microsoft.com/office/drawing/2014/main" id="{A5E27168-CE32-4E21-8802-4723F28BA7FD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FAC14E3-A70A-4CA0-9A8D-B13F945FE63F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8" name="Grup 17">
              <a:extLst>
                <a:ext uri="{FF2B5EF4-FFF2-40B4-BE49-F238E27FC236}">
                  <a16:creationId xmlns:a16="http://schemas.microsoft.com/office/drawing/2014/main" id="{39EE580E-215E-412B-B224-42E1E7439199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9" name="Daire: Boş 18">
                <a:extLst>
                  <a:ext uri="{FF2B5EF4-FFF2-40B4-BE49-F238E27FC236}">
                    <a16:creationId xmlns:a16="http://schemas.microsoft.com/office/drawing/2014/main" id="{66F46962-3132-47C5-BBD5-4C37246564FD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CC682274-030C-4EAA-ACF3-4647CE9A6ABC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25" name="Dikdörtgen 124">
            <a:extLst>
              <a:ext uri="{FF2B5EF4-FFF2-40B4-BE49-F238E27FC236}">
                <a16:creationId xmlns:a16="http://schemas.microsoft.com/office/drawing/2014/main" id="{C72F20CA-2077-4B54-BC7B-4BA65A514EC7}"/>
              </a:ext>
            </a:extLst>
          </p:cNvPr>
          <p:cNvSpPr/>
          <p:nvPr/>
        </p:nvSpPr>
        <p:spPr>
          <a:xfrm>
            <a:off x="-8171561" y="5526430"/>
            <a:ext cx="12192000" cy="678670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5AEBDE3C-7048-4A12-AA2C-01005870A620}"/>
              </a:ext>
            </a:extLst>
          </p:cNvPr>
          <p:cNvSpPr/>
          <p:nvPr/>
        </p:nvSpPr>
        <p:spPr>
          <a:xfrm>
            <a:off x="289589" y="5374733"/>
            <a:ext cx="1260000" cy="937325"/>
          </a:xfrm>
          <a:prstGeom prst="ellipse">
            <a:avLst/>
          </a:prstGeom>
          <a:solidFill>
            <a:srgbClr val="F1941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123" name="Dikdörtgen 122">
            <a:extLst>
              <a:ext uri="{FF2B5EF4-FFF2-40B4-BE49-F238E27FC236}">
                <a16:creationId xmlns:a16="http://schemas.microsoft.com/office/drawing/2014/main" id="{1B21464D-7C81-4342-8AD8-2CDE5C16773E}"/>
              </a:ext>
            </a:extLst>
          </p:cNvPr>
          <p:cNvSpPr/>
          <p:nvPr/>
        </p:nvSpPr>
        <p:spPr>
          <a:xfrm>
            <a:off x="445741" y="5762707"/>
            <a:ext cx="947695" cy="274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E.13.7.2</a:t>
            </a:r>
          </a:p>
        </p:txBody>
      </p: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2" name="Konuşma Balonu: Oval 41">
            <a:extLst>
              <a:ext uri="{FF2B5EF4-FFF2-40B4-BE49-F238E27FC236}">
                <a16:creationId xmlns:a16="http://schemas.microsoft.com/office/drawing/2014/main" id="{2C03015A-216E-42AF-ACDC-C6D6DBBD4314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2548900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ikdörtgen: Yuvarlatılmış Köşeler 28">
            <a:extLst>
              <a:ext uri="{FF2B5EF4-FFF2-40B4-BE49-F238E27FC236}">
                <a16:creationId xmlns:a16="http://schemas.microsoft.com/office/drawing/2014/main" id="{F8C87E35-06C7-4BD3-8222-367D6F143BBF}"/>
              </a:ext>
            </a:extLst>
          </p:cNvPr>
          <p:cNvSpPr/>
          <p:nvPr/>
        </p:nvSpPr>
        <p:spPr>
          <a:xfrm>
            <a:off x="1306531" y="2257965"/>
            <a:ext cx="2095870" cy="27328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E2F0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400" b="1" u="sng" dirty="0">
                <a:solidFill>
                  <a:schemeClr val="tx1"/>
                </a:solidFill>
              </a:rPr>
              <a:t>STANDART-1 (KOS)</a:t>
            </a:r>
          </a:p>
          <a:p>
            <a:r>
              <a:rPr lang="tr-TR" sz="1600" dirty="0">
                <a:solidFill>
                  <a:schemeClr val="tx1"/>
                </a:solidFill>
              </a:rPr>
              <a:t>Etik Değerler ve Dürüstlük: Personel davranışlarını belirleyen kuralların personel tarafından bilinmesi sağlanmalıdır</a:t>
            </a:r>
            <a:r>
              <a:rPr lang="tr-TR" sz="14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31" name="Dikdörtgen: Yuvarlatılmış Köşeler 30">
            <a:extLst>
              <a:ext uri="{FF2B5EF4-FFF2-40B4-BE49-F238E27FC236}">
                <a16:creationId xmlns:a16="http://schemas.microsoft.com/office/drawing/2014/main" id="{1CBA9C02-8F7B-44B1-954E-F5487E34B299}"/>
              </a:ext>
            </a:extLst>
          </p:cNvPr>
          <p:cNvSpPr/>
          <p:nvPr/>
        </p:nvSpPr>
        <p:spPr>
          <a:xfrm>
            <a:off x="3841570" y="2257965"/>
            <a:ext cx="2095870" cy="273288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>
                <a:solidFill>
                  <a:schemeClr val="tx1"/>
                </a:solidFill>
              </a:rPr>
              <a:t>GENEL ŞART (KOS 1.2)</a:t>
            </a:r>
          </a:p>
          <a:p>
            <a:r>
              <a:rPr lang="tr-TR" sz="1600" dirty="0">
                <a:solidFill>
                  <a:schemeClr val="tx1"/>
                </a:solidFill>
              </a:rPr>
              <a:t>İdarenin yöneticileri iç kontrol sisteminin uygulanmasında personele örnek olmalıdır.</a:t>
            </a:r>
          </a:p>
        </p:txBody>
      </p:sp>
      <p:sp>
        <p:nvSpPr>
          <p:cNvPr id="32" name="Dikdörtgen: Yuvarlatılmış Köşeler 31">
            <a:extLst>
              <a:ext uri="{FF2B5EF4-FFF2-40B4-BE49-F238E27FC236}">
                <a16:creationId xmlns:a16="http://schemas.microsoft.com/office/drawing/2014/main" id="{4D28CAD3-A5B7-4BC1-A6B2-B2F4B374FEA6}"/>
              </a:ext>
            </a:extLst>
          </p:cNvPr>
          <p:cNvSpPr/>
          <p:nvPr/>
        </p:nvSpPr>
        <p:spPr>
          <a:xfrm>
            <a:off x="6387146" y="2260138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EYLEM</a:t>
            </a:r>
          </a:p>
          <a:p>
            <a:r>
              <a:rPr lang="tr-TR" sz="1400" b="1" u="sng" dirty="0">
                <a:solidFill>
                  <a:schemeClr val="bg1"/>
                </a:solidFill>
              </a:rPr>
              <a:t>E.1.2.1</a:t>
            </a:r>
          </a:p>
          <a:p>
            <a:r>
              <a:rPr lang="tr-TR" sz="1400" dirty="0">
                <a:solidFill>
                  <a:schemeClr val="bg1"/>
                </a:solidFill>
              </a:rPr>
              <a:t>Harcama Birimi düzeyinde yönetici tarafından kurumsallaşma kapsamında personeli ile toplantı düzenlemesi</a:t>
            </a:r>
          </a:p>
        </p:txBody>
      </p:sp>
      <p:sp>
        <p:nvSpPr>
          <p:cNvPr id="33" name="Dikdörtgen: Yuvarlatılmış Köşeler 32">
            <a:extLst>
              <a:ext uri="{FF2B5EF4-FFF2-40B4-BE49-F238E27FC236}">
                <a16:creationId xmlns:a16="http://schemas.microsoft.com/office/drawing/2014/main" id="{C1C24B29-A7E8-4C4C-8904-AAB46B8C8673}"/>
              </a:ext>
            </a:extLst>
          </p:cNvPr>
          <p:cNvSpPr/>
          <p:nvPr/>
        </p:nvSpPr>
        <p:spPr>
          <a:xfrm>
            <a:off x="9003930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Merkez Birimler/İl Sağlık Müdürlükler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oplantı Görselleri Katılımcı Listes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937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7" name="Konuşma Balonu: Oval 6">
            <a:extLst>
              <a:ext uri="{FF2B5EF4-FFF2-40B4-BE49-F238E27FC236}">
                <a16:creationId xmlns:a16="http://schemas.microsoft.com/office/drawing/2014/main" id="{AD6722E1-43C7-4029-B712-FF661927ED82}"/>
              </a:ext>
            </a:extLst>
          </p:cNvPr>
          <p:cNvSpPr/>
          <p:nvPr/>
        </p:nvSpPr>
        <p:spPr>
          <a:xfrm>
            <a:off x="3511550" y="877749"/>
            <a:ext cx="5168900" cy="678670"/>
          </a:xfrm>
          <a:prstGeom prst="wedgeEllipseCallout">
            <a:avLst>
              <a:gd name="adj1" fmla="val -19112"/>
              <a:gd name="adj2" fmla="val 1242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KONTROL ORTAMI STANDARDI (KOS</a:t>
            </a:r>
            <a:r>
              <a:rPr lang="tr-TR" dirty="0"/>
              <a:t>)</a:t>
            </a:r>
          </a:p>
        </p:txBody>
      </p:sp>
      <p:sp>
        <p:nvSpPr>
          <p:cNvPr id="65" name="Serbest Form: Şekil 64">
            <a:extLst>
              <a:ext uri="{FF2B5EF4-FFF2-40B4-BE49-F238E27FC236}">
                <a16:creationId xmlns:a16="http://schemas.microsoft.com/office/drawing/2014/main" id="{179F2948-DDDD-4A51-810D-24FEE4A60903}"/>
              </a:ext>
            </a:extLst>
          </p:cNvPr>
          <p:cNvSpPr/>
          <p:nvPr/>
        </p:nvSpPr>
        <p:spPr>
          <a:xfrm>
            <a:off x="-4322623" y="2146300"/>
            <a:ext cx="26055484" cy="2956199"/>
          </a:xfrm>
          <a:custGeom>
            <a:avLst/>
            <a:gdLst>
              <a:gd name="connsiteX0" fmla="*/ 766505 w 26055484"/>
              <a:gd name="connsiteY0" fmla="*/ 93541 h 2926666"/>
              <a:gd name="connsiteX1" fmla="*/ 311015 w 26055484"/>
              <a:gd name="connsiteY1" fmla="*/ 549031 h 2926666"/>
              <a:gd name="connsiteX2" fmla="*/ 311015 w 26055484"/>
              <a:gd name="connsiteY2" fmla="*/ 2370934 h 2926666"/>
              <a:gd name="connsiteX3" fmla="*/ 766505 w 26055484"/>
              <a:gd name="connsiteY3" fmla="*/ 2826424 h 2926666"/>
              <a:gd name="connsiteX4" fmla="*/ 9831510 w 26055484"/>
              <a:gd name="connsiteY4" fmla="*/ 2826424 h 2926666"/>
              <a:gd name="connsiteX5" fmla="*/ 10287000 w 26055484"/>
              <a:gd name="connsiteY5" fmla="*/ 2370934 h 2926666"/>
              <a:gd name="connsiteX6" fmla="*/ 10287000 w 26055484"/>
              <a:gd name="connsiteY6" fmla="*/ 549031 h 2926666"/>
              <a:gd name="connsiteX7" fmla="*/ 9831510 w 26055484"/>
              <a:gd name="connsiteY7" fmla="*/ 93541 h 2926666"/>
              <a:gd name="connsiteX8" fmla="*/ 0 w 26055484"/>
              <a:gd name="connsiteY8" fmla="*/ 0 h 2926666"/>
              <a:gd name="connsiteX9" fmla="*/ 26055484 w 26055484"/>
              <a:gd name="connsiteY9" fmla="*/ 0 h 2926666"/>
              <a:gd name="connsiteX10" fmla="*/ 26055484 w 26055484"/>
              <a:gd name="connsiteY10" fmla="*/ 2926666 h 2926666"/>
              <a:gd name="connsiteX11" fmla="*/ 0 w 26055484"/>
              <a:gd name="connsiteY11" fmla="*/ 2926666 h 292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55484" h="2926666">
                <a:moveTo>
                  <a:pt x="766505" y="93541"/>
                </a:moveTo>
                <a:cubicBezTo>
                  <a:pt x="514945" y="93541"/>
                  <a:pt x="311015" y="297471"/>
                  <a:pt x="311015" y="549031"/>
                </a:cubicBezTo>
                <a:lnTo>
                  <a:pt x="311015" y="2370934"/>
                </a:lnTo>
                <a:cubicBezTo>
                  <a:pt x="311015" y="2622494"/>
                  <a:pt x="514945" y="2826424"/>
                  <a:pt x="766505" y="2826424"/>
                </a:cubicBezTo>
                <a:lnTo>
                  <a:pt x="9831510" y="2826424"/>
                </a:lnTo>
                <a:cubicBezTo>
                  <a:pt x="10083070" y="2826424"/>
                  <a:pt x="10287000" y="2622494"/>
                  <a:pt x="10287000" y="2370934"/>
                </a:cubicBezTo>
                <a:lnTo>
                  <a:pt x="10287000" y="549031"/>
                </a:lnTo>
                <a:cubicBezTo>
                  <a:pt x="10287000" y="297471"/>
                  <a:pt x="10083070" y="93541"/>
                  <a:pt x="9831510" y="93541"/>
                </a:cubicBezTo>
                <a:close/>
                <a:moveTo>
                  <a:pt x="0" y="0"/>
                </a:moveTo>
                <a:lnTo>
                  <a:pt x="26055484" y="0"/>
                </a:lnTo>
                <a:lnTo>
                  <a:pt x="26055484" y="2926666"/>
                </a:lnTo>
                <a:lnTo>
                  <a:pt x="0" y="2926666"/>
                </a:lnTo>
                <a:close/>
              </a:path>
            </a:pathLst>
          </a:custGeom>
          <a:solidFill>
            <a:srgbClr val="CFD2D9"/>
          </a:solidFill>
          <a:ln>
            <a:solidFill>
              <a:srgbClr val="CFD2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7898210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Dikdörtgen: Yuvarlatılmış Köşeler 135">
            <a:extLst>
              <a:ext uri="{FF2B5EF4-FFF2-40B4-BE49-F238E27FC236}">
                <a16:creationId xmlns:a16="http://schemas.microsoft.com/office/drawing/2014/main" id="{77977215-4913-4D5C-BB6A-6DA4162D2D62}"/>
              </a:ext>
            </a:extLst>
          </p:cNvPr>
          <p:cNvSpPr/>
          <p:nvPr/>
        </p:nvSpPr>
        <p:spPr>
          <a:xfrm>
            <a:off x="3482397" y="2426728"/>
            <a:ext cx="306086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400" dirty="0"/>
              <a:t>E.13.7.2</a:t>
            </a:r>
          </a:p>
        </p:txBody>
      </p:sp>
      <p:sp>
        <p:nvSpPr>
          <p:cNvPr id="150" name="Oval 149">
            <a:extLst>
              <a:ext uri="{FF2B5EF4-FFF2-40B4-BE49-F238E27FC236}">
                <a16:creationId xmlns:a16="http://schemas.microsoft.com/office/drawing/2014/main" id="{EB154BA2-F760-499D-9966-5DDBE29E6647}"/>
              </a:ext>
            </a:extLst>
          </p:cNvPr>
          <p:cNvSpPr/>
          <p:nvPr/>
        </p:nvSpPr>
        <p:spPr>
          <a:xfrm>
            <a:off x="202169" y="1130907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4" name="Grup 3">
            <a:extLst>
              <a:ext uri="{FF2B5EF4-FFF2-40B4-BE49-F238E27FC236}">
                <a16:creationId xmlns:a16="http://schemas.microsoft.com/office/drawing/2014/main" id="{F48A0F05-9FEB-409F-B971-491BAA9B1BC4}"/>
              </a:ext>
            </a:extLst>
          </p:cNvPr>
          <p:cNvGrpSpPr/>
          <p:nvPr/>
        </p:nvGrpSpPr>
        <p:grpSpPr>
          <a:xfrm>
            <a:off x="259319" y="1308532"/>
            <a:ext cx="3600000" cy="3600000"/>
            <a:chOff x="4296000" y="1548914"/>
            <a:chExt cx="3600000" cy="3600000"/>
          </a:xfrm>
        </p:grpSpPr>
        <p:sp>
          <p:nvSpPr>
            <p:cNvPr id="5" name="Serbest Form: Şekil 4">
              <a:extLst>
                <a:ext uri="{FF2B5EF4-FFF2-40B4-BE49-F238E27FC236}">
                  <a16:creationId xmlns:a16="http://schemas.microsoft.com/office/drawing/2014/main" id="{A72733A4-6436-4282-831C-BFD32626BD2B}"/>
                </a:ext>
              </a:extLst>
            </p:cNvPr>
            <p:cNvSpPr/>
            <p:nvPr/>
          </p:nvSpPr>
          <p:spPr>
            <a:xfrm>
              <a:off x="4296000" y="154891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6" name="Serbest Form: Şekil 5">
              <a:extLst>
                <a:ext uri="{FF2B5EF4-FFF2-40B4-BE49-F238E27FC236}">
                  <a16:creationId xmlns:a16="http://schemas.microsoft.com/office/drawing/2014/main" id="{25CDE1F1-FDFF-428A-8C2A-CD592C8C0BAA}"/>
                </a:ext>
              </a:extLst>
            </p:cNvPr>
            <p:cNvSpPr/>
            <p:nvPr/>
          </p:nvSpPr>
          <p:spPr>
            <a:xfrm>
              <a:off x="4296000" y="334891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7" name="Grup 6">
              <a:extLst>
                <a:ext uri="{FF2B5EF4-FFF2-40B4-BE49-F238E27FC236}">
                  <a16:creationId xmlns:a16="http://schemas.microsoft.com/office/drawing/2014/main" id="{05ED56F2-BF77-4071-9ECB-AAB2921055DE}"/>
                </a:ext>
              </a:extLst>
            </p:cNvPr>
            <p:cNvGrpSpPr/>
            <p:nvPr/>
          </p:nvGrpSpPr>
          <p:grpSpPr>
            <a:xfrm>
              <a:off x="4296000" y="2448914"/>
              <a:ext cx="1800000" cy="1800000"/>
              <a:chOff x="4296000" y="2117236"/>
              <a:chExt cx="1800000" cy="1800000"/>
            </a:xfrm>
          </p:grpSpPr>
          <p:sp>
            <p:nvSpPr>
              <p:cNvPr id="11" name="Daire: Boş 10">
                <a:extLst>
                  <a:ext uri="{FF2B5EF4-FFF2-40B4-BE49-F238E27FC236}">
                    <a16:creationId xmlns:a16="http://schemas.microsoft.com/office/drawing/2014/main" id="{F43380F9-A6F6-47CF-A143-72A6C4E4A623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9D598955-2152-4455-922D-2CF4D97E0327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8" name="Grup 7">
              <a:extLst>
                <a:ext uri="{FF2B5EF4-FFF2-40B4-BE49-F238E27FC236}">
                  <a16:creationId xmlns:a16="http://schemas.microsoft.com/office/drawing/2014/main" id="{09EA79EC-C01F-4FF5-8D9B-D57FBA40E29B}"/>
                </a:ext>
              </a:extLst>
            </p:cNvPr>
            <p:cNvGrpSpPr/>
            <p:nvPr/>
          </p:nvGrpSpPr>
          <p:grpSpPr>
            <a:xfrm>
              <a:off x="6096000" y="2396988"/>
              <a:ext cx="1800000" cy="1800000"/>
              <a:chOff x="1534499" y="2640201"/>
              <a:chExt cx="1800000" cy="1800000"/>
            </a:xfrm>
          </p:grpSpPr>
          <p:sp>
            <p:nvSpPr>
              <p:cNvPr id="9" name="Daire: Boş 8">
                <a:extLst>
                  <a:ext uri="{FF2B5EF4-FFF2-40B4-BE49-F238E27FC236}">
                    <a16:creationId xmlns:a16="http://schemas.microsoft.com/office/drawing/2014/main" id="{DF2D4B59-D361-41F6-B325-FE1453EC94E6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C7D1863C-CD9C-46EB-B650-EB1A157A0AD1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DFEF8306-368B-4D61-A308-5954E9F250F7}"/>
              </a:ext>
            </a:extLst>
          </p:cNvPr>
          <p:cNvSpPr/>
          <p:nvPr/>
        </p:nvSpPr>
        <p:spPr>
          <a:xfrm>
            <a:off x="242541" y="1152732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4" name="Grup 13">
            <a:extLst>
              <a:ext uri="{FF2B5EF4-FFF2-40B4-BE49-F238E27FC236}">
                <a16:creationId xmlns:a16="http://schemas.microsoft.com/office/drawing/2014/main" id="{0393DBDD-D120-41BC-9D23-BC5621365E06}"/>
              </a:ext>
            </a:extLst>
          </p:cNvPr>
          <p:cNvGrpSpPr/>
          <p:nvPr/>
        </p:nvGrpSpPr>
        <p:grpSpPr>
          <a:xfrm>
            <a:off x="259319" y="1308532"/>
            <a:ext cx="3600000" cy="3600000"/>
            <a:chOff x="4296000" y="1550474"/>
            <a:chExt cx="3600000" cy="3600000"/>
          </a:xfrm>
        </p:grpSpPr>
        <p:sp>
          <p:nvSpPr>
            <p:cNvPr id="15" name="Serbest Form: Şekil 14">
              <a:extLst>
                <a:ext uri="{FF2B5EF4-FFF2-40B4-BE49-F238E27FC236}">
                  <a16:creationId xmlns:a16="http://schemas.microsoft.com/office/drawing/2014/main" id="{B812C27D-1E8D-4083-B13A-FB4E1E877757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6" name="Serbest Form: Şekil 15">
              <a:extLst>
                <a:ext uri="{FF2B5EF4-FFF2-40B4-BE49-F238E27FC236}">
                  <a16:creationId xmlns:a16="http://schemas.microsoft.com/office/drawing/2014/main" id="{BCEE6FAE-DD17-4126-BA1C-176670DB50F2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7" name="Grup 16">
              <a:extLst>
                <a:ext uri="{FF2B5EF4-FFF2-40B4-BE49-F238E27FC236}">
                  <a16:creationId xmlns:a16="http://schemas.microsoft.com/office/drawing/2014/main" id="{BB79EFC2-B488-4B42-B67D-26C5928B4027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21" name="Daire: Boş 20">
                <a:extLst>
                  <a:ext uri="{FF2B5EF4-FFF2-40B4-BE49-F238E27FC236}">
                    <a16:creationId xmlns:a16="http://schemas.microsoft.com/office/drawing/2014/main" id="{A5E27168-CE32-4E21-8802-4723F28BA7FD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BFAC14E3-A70A-4CA0-9A8D-B13F945FE63F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8" name="Grup 17">
              <a:extLst>
                <a:ext uri="{FF2B5EF4-FFF2-40B4-BE49-F238E27FC236}">
                  <a16:creationId xmlns:a16="http://schemas.microsoft.com/office/drawing/2014/main" id="{39EE580E-215E-412B-B224-42E1E7439199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9" name="Daire: Boş 18">
                <a:extLst>
                  <a:ext uri="{FF2B5EF4-FFF2-40B4-BE49-F238E27FC236}">
                    <a16:creationId xmlns:a16="http://schemas.microsoft.com/office/drawing/2014/main" id="{66F46962-3132-47C5-BBD5-4C37246564FD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CC682274-030C-4EAA-ACF3-4647CE9A6ABC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8171561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grpSp>
        <p:nvGrpSpPr>
          <p:cNvPr id="62" name="Grup 61">
            <a:extLst>
              <a:ext uri="{FF2B5EF4-FFF2-40B4-BE49-F238E27FC236}">
                <a16:creationId xmlns:a16="http://schemas.microsoft.com/office/drawing/2014/main" id="{FA5814B8-F351-4863-9B2B-72F66623E48D}"/>
              </a:ext>
            </a:extLst>
          </p:cNvPr>
          <p:cNvGrpSpPr/>
          <p:nvPr/>
        </p:nvGrpSpPr>
        <p:grpSpPr>
          <a:xfrm>
            <a:off x="4296000" y="6945373"/>
            <a:ext cx="1800000" cy="1800000"/>
            <a:chOff x="4296000" y="1550474"/>
            <a:chExt cx="3600000" cy="3600000"/>
          </a:xfrm>
        </p:grpSpPr>
        <p:sp>
          <p:nvSpPr>
            <p:cNvPr id="63" name="Serbest Form: Şekil 62">
              <a:extLst>
                <a:ext uri="{FF2B5EF4-FFF2-40B4-BE49-F238E27FC236}">
                  <a16:creationId xmlns:a16="http://schemas.microsoft.com/office/drawing/2014/main" id="{8077C41B-3307-43B7-9F71-9051CA57B6A2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64" name="Serbest Form: Şekil 63">
              <a:extLst>
                <a:ext uri="{FF2B5EF4-FFF2-40B4-BE49-F238E27FC236}">
                  <a16:creationId xmlns:a16="http://schemas.microsoft.com/office/drawing/2014/main" id="{BA2A7E94-0B88-448D-999E-4581F34FA83D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65" name="Grup 64">
              <a:extLst>
                <a:ext uri="{FF2B5EF4-FFF2-40B4-BE49-F238E27FC236}">
                  <a16:creationId xmlns:a16="http://schemas.microsoft.com/office/drawing/2014/main" id="{104BD2DD-4964-421B-A551-8781F0512FBA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69" name="Daire: Boş 68">
                <a:extLst>
                  <a:ext uri="{FF2B5EF4-FFF2-40B4-BE49-F238E27FC236}">
                    <a16:creationId xmlns:a16="http://schemas.microsoft.com/office/drawing/2014/main" id="{2765D670-5344-4E71-870B-75EA5B41BEF0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08471721-D753-4592-A48D-A2953A68ACDC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66" name="Grup 65">
              <a:extLst>
                <a:ext uri="{FF2B5EF4-FFF2-40B4-BE49-F238E27FC236}">
                  <a16:creationId xmlns:a16="http://schemas.microsoft.com/office/drawing/2014/main" id="{29336748-1D6B-4492-90D6-4942736A17EC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67" name="Daire: Boş 66">
                <a:extLst>
                  <a:ext uri="{FF2B5EF4-FFF2-40B4-BE49-F238E27FC236}">
                    <a16:creationId xmlns:a16="http://schemas.microsoft.com/office/drawing/2014/main" id="{7BAA0DD5-7E51-44D7-8F8F-30C32F9DA75F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B312D62-62A1-4B87-9F61-5E938AF4A094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139" name="Grup 138">
            <a:extLst>
              <a:ext uri="{FF2B5EF4-FFF2-40B4-BE49-F238E27FC236}">
                <a16:creationId xmlns:a16="http://schemas.microsoft.com/office/drawing/2014/main" id="{99B34178-D1F3-433E-AEED-8A536CFE3DAD}"/>
              </a:ext>
            </a:extLst>
          </p:cNvPr>
          <p:cNvGrpSpPr/>
          <p:nvPr/>
        </p:nvGrpSpPr>
        <p:grpSpPr>
          <a:xfrm>
            <a:off x="4262444" y="-1954180"/>
            <a:ext cx="1800000" cy="1800000"/>
            <a:chOff x="4296000" y="1550474"/>
            <a:chExt cx="3600000" cy="3600000"/>
          </a:xfrm>
        </p:grpSpPr>
        <p:sp>
          <p:nvSpPr>
            <p:cNvPr id="140" name="Serbest Form: Şekil 139">
              <a:extLst>
                <a:ext uri="{FF2B5EF4-FFF2-40B4-BE49-F238E27FC236}">
                  <a16:creationId xmlns:a16="http://schemas.microsoft.com/office/drawing/2014/main" id="{3EEA7A3A-24AE-4744-9904-5CE40F6728BF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41" name="Serbest Form: Şekil 140">
              <a:extLst>
                <a:ext uri="{FF2B5EF4-FFF2-40B4-BE49-F238E27FC236}">
                  <a16:creationId xmlns:a16="http://schemas.microsoft.com/office/drawing/2014/main" id="{B9BC0150-D81B-4E81-9387-55F90AB889D9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142" name="Grup 141">
              <a:extLst>
                <a:ext uri="{FF2B5EF4-FFF2-40B4-BE49-F238E27FC236}">
                  <a16:creationId xmlns:a16="http://schemas.microsoft.com/office/drawing/2014/main" id="{0DDB1BCD-F8A0-44C1-9FD8-D8600BA232EF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46" name="Daire: Boş 145">
                <a:extLst>
                  <a:ext uri="{FF2B5EF4-FFF2-40B4-BE49-F238E27FC236}">
                    <a16:creationId xmlns:a16="http://schemas.microsoft.com/office/drawing/2014/main" id="{2629B84E-B0DD-4C66-AA0E-CDFD022AA3FE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47" name="Oval 146">
                <a:extLst>
                  <a:ext uri="{FF2B5EF4-FFF2-40B4-BE49-F238E27FC236}">
                    <a16:creationId xmlns:a16="http://schemas.microsoft.com/office/drawing/2014/main" id="{F03974E3-B209-40F3-A5FB-AD409E89E6DD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43" name="Grup 142">
              <a:extLst>
                <a:ext uri="{FF2B5EF4-FFF2-40B4-BE49-F238E27FC236}">
                  <a16:creationId xmlns:a16="http://schemas.microsoft.com/office/drawing/2014/main" id="{4021FF35-FBC9-4802-9141-1FF24697C106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44" name="Daire: Boş 143">
                <a:extLst>
                  <a:ext uri="{FF2B5EF4-FFF2-40B4-BE49-F238E27FC236}">
                    <a16:creationId xmlns:a16="http://schemas.microsoft.com/office/drawing/2014/main" id="{2EDCAB0D-D3CB-4984-ACF0-6E39886B8F33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45" name="Oval 144">
                <a:extLst>
                  <a:ext uri="{FF2B5EF4-FFF2-40B4-BE49-F238E27FC236}">
                    <a16:creationId xmlns:a16="http://schemas.microsoft.com/office/drawing/2014/main" id="{276044B6-FE07-42F5-91FD-499F8933F4FF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48" name="Dikdörtgen: Yuvarlatılmış Köşeler 147">
            <a:extLst>
              <a:ext uri="{FF2B5EF4-FFF2-40B4-BE49-F238E27FC236}">
                <a16:creationId xmlns:a16="http://schemas.microsoft.com/office/drawing/2014/main" id="{85BD5763-E58A-4291-813A-9DD71DD67304}"/>
              </a:ext>
            </a:extLst>
          </p:cNvPr>
          <p:cNvSpPr/>
          <p:nvPr/>
        </p:nvSpPr>
        <p:spPr>
          <a:xfrm>
            <a:off x="12663021" y="1145687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Standart-13 (BİS)</a:t>
            </a:r>
          </a:p>
          <a:p>
            <a:r>
              <a:rPr lang="tr-TR" sz="1400" dirty="0"/>
              <a:t>Bilgi ve İletişim: İdareler, birimlerinin ve çalışanlarının performansının izlenebilmesi, karar alma süreçlerinin sağlıklı bir şekilde işleyebilmesi ve hizmet sunumunda etkinlik ve memnuniyetin sağlanması amacıyla uygun bir bilgi ve iletişim sistemine sahip olmalıdır.</a:t>
            </a:r>
          </a:p>
        </p:txBody>
      </p:sp>
      <p:sp>
        <p:nvSpPr>
          <p:cNvPr id="149" name="Dikdörtgen: Yuvarlatılmış Köşeler 148">
            <a:extLst>
              <a:ext uri="{FF2B5EF4-FFF2-40B4-BE49-F238E27FC236}">
                <a16:creationId xmlns:a16="http://schemas.microsoft.com/office/drawing/2014/main" id="{7F4F097B-3B50-4795-84D4-F0C4BA045687}"/>
              </a:ext>
            </a:extLst>
          </p:cNvPr>
          <p:cNvSpPr/>
          <p:nvPr/>
        </p:nvSpPr>
        <p:spPr>
          <a:xfrm>
            <a:off x="12700005" y="3403117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Genel Şart</a:t>
            </a:r>
          </a:p>
          <a:p>
            <a:r>
              <a:rPr lang="tr-TR" sz="1400" dirty="0"/>
              <a:t>İdarenin yatay ve dikey iletişim sistemi personelin değerlendirme, öneri ve sorunlarını iletebilmelerini sağlamalıdır.</a:t>
            </a:r>
          </a:p>
        </p:txBody>
      </p:sp>
      <p:sp>
        <p:nvSpPr>
          <p:cNvPr id="71" name="Konuşma Balonu: Oval 70">
            <a:extLst>
              <a:ext uri="{FF2B5EF4-FFF2-40B4-BE49-F238E27FC236}">
                <a16:creationId xmlns:a16="http://schemas.microsoft.com/office/drawing/2014/main" id="{AB5C7344-4C07-4FA3-9949-8E9D13E9BA42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687121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50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0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Dikdörtgen: Yuvarlatılmış Köşeler 97">
            <a:extLst>
              <a:ext uri="{FF2B5EF4-FFF2-40B4-BE49-F238E27FC236}">
                <a16:creationId xmlns:a16="http://schemas.microsoft.com/office/drawing/2014/main" id="{4CAB0BEF-371E-44E9-A877-7AA91D3541CE}"/>
              </a:ext>
            </a:extLst>
          </p:cNvPr>
          <p:cNvSpPr/>
          <p:nvPr/>
        </p:nvSpPr>
        <p:spPr>
          <a:xfrm>
            <a:off x="5754216" y="1145687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Standart-13 (BİS)</a:t>
            </a:r>
          </a:p>
          <a:p>
            <a:r>
              <a:rPr lang="tr-TR" sz="1400" dirty="0"/>
              <a:t>Bilgi ve İletişim: İdareler, birimlerinin ve çalışanlarının performansının izlenebilmesi, karar alma süreçlerinin sağlıklı bir şekilde işleyebilmesi ve hizmet sunumunda etkinlik ve memnuniyetin sağlanması amacıyla uygun bir bilgi ve iletişim sistemine sahip olmalıdır.</a:t>
            </a:r>
          </a:p>
        </p:txBody>
      </p:sp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8171561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99" name="Dikdörtgen: Yuvarlatılmış Köşeler 98">
            <a:extLst>
              <a:ext uri="{FF2B5EF4-FFF2-40B4-BE49-F238E27FC236}">
                <a16:creationId xmlns:a16="http://schemas.microsoft.com/office/drawing/2014/main" id="{E29847E6-1449-42D3-9881-F888F49A1878}"/>
              </a:ext>
            </a:extLst>
          </p:cNvPr>
          <p:cNvSpPr/>
          <p:nvPr/>
        </p:nvSpPr>
        <p:spPr>
          <a:xfrm>
            <a:off x="5791200" y="3403117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Genel Şart: (13.7)</a:t>
            </a:r>
          </a:p>
          <a:p>
            <a:r>
              <a:rPr lang="tr-TR" sz="1400" dirty="0"/>
              <a:t>İdarenin yatay ve dikey iletişim sistemi personelin değerlendirme, öneri ve sorunlarını iletebilmelerini sağlamalıdır.</a:t>
            </a:r>
          </a:p>
        </p:txBody>
      </p:sp>
      <p:grpSp>
        <p:nvGrpSpPr>
          <p:cNvPr id="62" name="Grup 61">
            <a:extLst>
              <a:ext uri="{FF2B5EF4-FFF2-40B4-BE49-F238E27FC236}">
                <a16:creationId xmlns:a16="http://schemas.microsoft.com/office/drawing/2014/main" id="{FA5814B8-F351-4863-9B2B-72F66623E48D}"/>
              </a:ext>
            </a:extLst>
          </p:cNvPr>
          <p:cNvGrpSpPr/>
          <p:nvPr/>
        </p:nvGrpSpPr>
        <p:grpSpPr>
          <a:xfrm>
            <a:off x="3900021" y="3134437"/>
            <a:ext cx="1800000" cy="1800000"/>
            <a:chOff x="4296000" y="1550474"/>
            <a:chExt cx="3600000" cy="3600000"/>
          </a:xfrm>
        </p:grpSpPr>
        <p:sp>
          <p:nvSpPr>
            <p:cNvPr id="63" name="Serbest Form: Şekil 62">
              <a:extLst>
                <a:ext uri="{FF2B5EF4-FFF2-40B4-BE49-F238E27FC236}">
                  <a16:creationId xmlns:a16="http://schemas.microsoft.com/office/drawing/2014/main" id="{8077C41B-3307-43B7-9F71-9051CA57B6A2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64" name="Serbest Form: Şekil 63">
              <a:extLst>
                <a:ext uri="{FF2B5EF4-FFF2-40B4-BE49-F238E27FC236}">
                  <a16:creationId xmlns:a16="http://schemas.microsoft.com/office/drawing/2014/main" id="{BA2A7E94-0B88-448D-999E-4581F34FA83D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65" name="Grup 64">
              <a:extLst>
                <a:ext uri="{FF2B5EF4-FFF2-40B4-BE49-F238E27FC236}">
                  <a16:creationId xmlns:a16="http://schemas.microsoft.com/office/drawing/2014/main" id="{104BD2DD-4964-421B-A551-8781F0512FBA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69" name="Daire: Boş 68">
                <a:extLst>
                  <a:ext uri="{FF2B5EF4-FFF2-40B4-BE49-F238E27FC236}">
                    <a16:creationId xmlns:a16="http://schemas.microsoft.com/office/drawing/2014/main" id="{2765D670-5344-4E71-870B-75EA5B41BEF0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08471721-D753-4592-A48D-A2953A68ACDC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66" name="Grup 65">
              <a:extLst>
                <a:ext uri="{FF2B5EF4-FFF2-40B4-BE49-F238E27FC236}">
                  <a16:creationId xmlns:a16="http://schemas.microsoft.com/office/drawing/2014/main" id="{29336748-1D6B-4492-90D6-4942736A17EC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67" name="Daire: Boş 66">
                <a:extLst>
                  <a:ext uri="{FF2B5EF4-FFF2-40B4-BE49-F238E27FC236}">
                    <a16:creationId xmlns:a16="http://schemas.microsoft.com/office/drawing/2014/main" id="{7BAA0DD5-7E51-44D7-8F8F-30C32F9DA75F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B312D62-62A1-4B87-9F61-5E938AF4A094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147" name="Grup 146">
            <a:extLst>
              <a:ext uri="{FF2B5EF4-FFF2-40B4-BE49-F238E27FC236}">
                <a16:creationId xmlns:a16="http://schemas.microsoft.com/office/drawing/2014/main" id="{8F201DCF-B5D1-4A1A-99ED-488017A11866}"/>
              </a:ext>
            </a:extLst>
          </p:cNvPr>
          <p:cNvGrpSpPr/>
          <p:nvPr/>
        </p:nvGrpSpPr>
        <p:grpSpPr>
          <a:xfrm>
            <a:off x="3866275" y="887546"/>
            <a:ext cx="1800000" cy="1800000"/>
            <a:chOff x="4296000" y="1550474"/>
            <a:chExt cx="3600000" cy="3600000"/>
          </a:xfrm>
        </p:grpSpPr>
        <p:sp>
          <p:nvSpPr>
            <p:cNvPr id="148" name="Serbest Form: Şekil 147">
              <a:extLst>
                <a:ext uri="{FF2B5EF4-FFF2-40B4-BE49-F238E27FC236}">
                  <a16:creationId xmlns:a16="http://schemas.microsoft.com/office/drawing/2014/main" id="{CD68ABAA-9791-4E00-9F72-1389D3EE50F0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49" name="Serbest Form: Şekil 148">
              <a:extLst>
                <a:ext uri="{FF2B5EF4-FFF2-40B4-BE49-F238E27FC236}">
                  <a16:creationId xmlns:a16="http://schemas.microsoft.com/office/drawing/2014/main" id="{62A9157B-0DDC-4740-8F34-9B8A3F689716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150" name="Grup 149">
              <a:extLst>
                <a:ext uri="{FF2B5EF4-FFF2-40B4-BE49-F238E27FC236}">
                  <a16:creationId xmlns:a16="http://schemas.microsoft.com/office/drawing/2014/main" id="{78292B26-1174-481F-84A4-C55C5CFF2EDE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54" name="Daire: Boş 153">
                <a:extLst>
                  <a:ext uri="{FF2B5EF4-FFF2-40B4-BE49-F238E27FC236}">
                    <a16:creationId xmlns:a16="http://schemas.microsoft.com/office/drawing/2014/main" id="{9F4B6FE1-6DBF-4CB2-9BC5-D25128A928CE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DA9BD701-518E-4818-806E-FC5CC87A5AF9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51" name="Grup 150">
              <a:extLst>
                <a:ext uri="{FF2B5EF4-FFF2-40B4-BE49-F238E27FC236}">
                  <a16:creationId xmlns:a16="http://schemas.microsoft.com/office/drawing/2014/main" id="{EDDCE22B-947A-4395-8D2F-C372F57FE6BF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52" name="Daire: Boş 151">
                <a:extLst>
                  <a:ext uri="{FF2B5EF4-FFF2-40B4-BE49-F238E27FC236}">
                    <a16:creationId xmlns:a16="http://schemas.microsoft.com/office/drawing/2014/main" id="{96406636-0E40-476C-A52D-F02C50247514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820812C0-0376-4A7F-BC3E-2F4BC857E3EC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74" name="Oval 173">
            <a:extLst>
              <a:ext uri="{FF2B5EF4-FFF2-40B4-BE49-F238E27FC236}">
                <a16:creationId xmlns:a16="http://schemas.microsoft.com/office/drawing/2014/main" id="{630F12A6-37C5-4F17-82FF-C92AAC9E44F5}"/>
              </a:ext>
            </a:extLst>
          </p:cNvPr>
          <p:cNvSpPr/>
          <p:nvPr/>
        </p:nvSpPr>
        <p:spPr>
          <a:xfrm>
            <a:off x="195819" y="1130907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75" name="Grup 174">
            <a:extLst>
              <a:ext uri="{FF2B5EF4-FFF2-40B4-BE49-F238E27FC236}">
                <a16:creationId xmlns:a16="http://schemas.microsoft.com/office/drawing/2014/main" id="{03D0CEBA-1D0F-4900-83F3-191D359A58FC}"/>
              </a:ext>
            </a:extLst>
          </p:cNvPr>
          <p:cNvGrpSpPr/>
          <p:nvPr/>
        </p:nvGrpSpPr>
        <p:grpSpPr>
          <a:xfrm>
            <a:off x="252969" y="1308532"/>
            <a:ext cx="3600000" cy="3600000"/>
            <a:chOff x="4296000" y="1548914"/>
            <a:chExt cx="3600000" cy="3600000"/>
          </a:xfrm>
        </p:grpSpPr>
        <p:sp>
          <p:nvSpPr>
            <p:cNvPr id="176" name="Serbest Form: Şekil 175">
              <a:extLst>
                <a:ext uri="{FF2B5EF4-FFF2-40B4-BE49-F238E27FC236}">
                  <a16:creationId xmlns:a16="http://schemas.microsoft.com/office/drawing/2014/main" id="{85349199-5DB3-4D54-8A79-28B29E6E929C}"/>
                </a:ext>
              </a:extLst>
            </p:cNvPr>
            <p:cNvSpPr/>
            <p:nvPr/>
          </p:nvSpPr>
          <p:spPr>
            <a:xfrm>
              <a:off x="4296000" y="154891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77" name="Serbest Form: Şekil 176">
              <a:extLst>
                <a:ext uri="{FF2B5EF4-FFF2-40B4-BE49-F238E27FC236}">
                  <a16:creationId xmlns:a16="http://schemas.microsoft.com/office/drawing/2014/main" id="{69F6C97B-8883-4989-9417-AEB2FC214AF9}"/>
                </a:ext>
              </a:extLst>
            </p:cNvPr>
            <p:cNvSpPr/>
            <p:nvPr/>
          </p:nvSpPr>
          <p:spPr>
            <a:xfrm>
              <a:off x="4296000" y="334891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78" name="Grup 177">
              <a:extLst>
                <a:ext uri="{FF2B5EF4-FFF2-40B4-BE49-F238E27FC236}">
                  <a16:creationId xmlns:a16="http://schemas.microsoft.com/office/drawing/2014/main" id="{5D803949-5902-44DF-8B98-E6FD69E81847}"/>
                </a:ext>
              </a:extLst>
            </p:cNvPr>
            <p:cNvGrpSpPr/>
            <p:nvPr/>
          </p:nvGrpSpPr>
          <p:grpSpPr>
            <a:xfrm>
              <a:off x="4296000" y="2448914"/>
              <a:ext cx="1800000" cy="1800000"/>
              <a:chOff x="4296000" y="2117236"/>
              <a:chExt cx="1800000" cy="1800000"/>
            </a:xfrm>
          </p:grpSpPr>
          <p:sp>
            <p:nvSpPr>
              <p:cNvPr id="182" name="Daire: Boş 181">
                <a:extLst>
                  <a:ext uri="{FF2B5EF4-FFF2-40B4-BE49-F238E27FC236}">
                    <a16:creationId xmlns:a16="http://schemas.microsoft.com/office/drawing/2014/main" id="{482CD44F-EAB8-4A00-A687-2AFBF2400786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3750386-F5BC-4612-AECD-AA6E3BF1A465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79" name="Grup 178">
              <a:extLst>
                <a:ext uri="{FF2B5EF4-FFF2-40B4-BE49-F238E27FC236}">
                  <a16:creationId xmlns:a16="http://schemas.microsoft.com/office/drawing/2014/main" id="{465EF946-2D46-4B0E-8230-3221497CB936}"/>
                </a:ext>
              </a:extLst>
            </p:cNvPr>
            <p:cNvGrpSpPr/>
            <p:nvPr/>
          </p:nvGrpSpPr>
          <p:grpSpPr>
            <a:xfrm>
              <a:off x="6096000" y="2396988"/>
              <a:ext cx="1800000" cy="1800000"/>
              <a:chOff x="1534499" y="2640201"/>
              <a:chExt cx="1800000" cy="1800000"/>
            </a:xfrm>
          </p:grpSpPr>
          <p:sp>
            <p:nvSpPr>
              <p:cNvPr id="180" name="Daire: Boş 179">
                <a:extLst>
                  <a:ext uri="{FF2B5EF4-FFF2-40B4-BE49-F238E27FC236}">
                    <a16:creationId xmlns:a16="http://schemas.microsoft.com/office/drawing/2014/main" id="{9E510463-D6F9-42F8-A6EC-9FAF5CEFB207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8476154E-3B7A-40B1-9690-7670F9BD3886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84" name="Oval 183">
            <a:extLst>
              <a:ext uri="{FF2B5EF4-FFF2-40B4-BE49-F238E27FC236}">
                <a16:creationId xmlns:a16="http://schemas.microsoft.com/office/drawing/2014/main" id="{38495419-0251-4F54-88AE-E9FFB0D8501C}"/>
              </a:ext>
            </a:extLst>
          </p:cNvPr>
          <p:cNvSpPr/>
          <p:nvPr/>
        </p:nvSpPr>
        <p:spPr>
          <a:xfrm>
            <a:off x="236191" y="1152732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85" name="Grup 184">
            <a:extLst>
              <a:ext uri="{FF2B5EF4-FFF2-40B4-BE49-F238E27FC236}">
                <a16:creationId xmlns:a16="http://schemas.microsoft.com/office/drawing/2014/main" id="{C0587A5D-6F7B-4CDC-B29C-A646CB57AC36}"/>
              </a:ext>
            </a:extLst>
          </p:cNvPr>
          <p:cNvGrpSpPr/>
          <p:nvPr/>
        </p:nvGrpSpPr>
        <p:grpSpPr>
          <a:xfrm>
            <a:off x="252969" y="1308532"/>
            <a:ext cx="3600000" cy="3600000"/>
            <a:chOff x="4296000" y="1550474"/>
            <a:chExt cx="3600000" cy="3600000"/>
          </a:xfrm>
        </p:grpSpPr>
        <p:sp>
          <p:nvSpPr>
            <p:cNvPr id="186" name="Serbest Form: Şekil 185">
              <a:extLst>
                <a:ext uri="{FF2B5EF4-FFF2-40B4-BE49-F238E27FC236}">
                  <a16:creationId xmlns:a16="http://schemas.microsoft.com/office/drawing/2014/main" id="{F4E423D2-862E-4244-B4C9-CF95CCEBA247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87" name="Serbest Form: Şekil 186">
              <a:extLst>
                <a:ext uri="{FF2B5EF4-FFF2-40B4-BE49-F238E27FC236}">
                  <a16:creationId xmlns:a16="http://schemas.microsoft.com/office/drawing/2014/main" id="{D9F81AF3-56AF-49EB-B294-61850AEFF700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88" name="Grup 187">
              <a:extLst>
                <a:ext uri="{FF2B5EF4-FFF2-40B4-BE49-F238E27FC236}">
                  <a16:creationId xmlns:a16="http://schemas.microsoft.com/office/drawing/2014/main" id="{E8744FEE-27EA-4D93-9428-9B2A2244F0BE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92" name="Daire: Boş 191">
                <a:extLst>
                  <a:ext uri="{FF2B5EF4-FFF2-40B4-BE49-F238E27FC236}">
                    <a16:creationId xmlns:a16="http://schemas.microsoft.com/office/drawing/2014/main" id="{84A3D9DF-5173-4587-A9C5-970B6B20A0CF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93F3D2CF-C85B-4911-9186-205FE8C758B8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89" name="Grup 188">
              <a:extLst>
                <a:ext uri="{FF2B5EF4-FFF2-40B4-BE49-F238E27FC236}">
                  <a16:creationId xmlns:a16="http://schemas.microsoft.com/office/drawing/2014/main" id="{C61FE238-2027-4E05-9A05-18E6F658A101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90" name="Daire: Boş 189">
                <a:extLst>
                  <a:ext uri="{FF2B5EF4-FFF2-40B4-BE49-F238E27FC236}">
                    <a16:creationId xmlns:a16="http://schemas.microsoft.com/office/drawing/2014/main" id="{86F7EF9F-105C-4671-91C1-FAE4D47BC5DC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41F1A2F5-C5D6-46C1-BB8B-16E60B106876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71" name="Konuşma Balonu: Oval 70">
            <a:extLst>
              <a:ext uri="{FF2B5EF4-FFF2-40B4-BE49-F238E27FC236}">
                <a16:creationId xmlns:a16="http://schemas.microsoft.com/office/drawing/2014/main" id="{39FE16C2-3E05-432C-81E2-0EB745C57BA6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3628221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7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Dikdörtgen: Yuvarlatılmış Köşeler 97">
            <a:extLst>
              <a:ext uri="{FF2B5EF4-FFF2-40B4-BE49-F238E27FC236}">
                <a16:creationId xmlns:a16="http://schemas.microsoft.com/office/drawing/2014/main" id="{4CAB0BEF-371E-44E9-A877-7AA91D3541CE}"/>
              </a:ext>
            </a:extLst>
          </p:cNvPr>
          <p:cNvSpPr/>
          <p:nvPr/>
        </p:nvSpPr>
        <p:spPr>
          <a:xfrm>
            <a:off x="5754216" y="-4245463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Standart-13 (BİS)</a:t>
            </a:r>
          </a:p>
          <a:p>
            <a:r>
              <a:rPr lang="tr-TR" sz="1400" dirty="0"/>
              <a:t>Bilgi ve İletişim: İdareler, birimlerinin ve çalışanlarının performansının izlenebilmesi, karar alma süreçlerinin sağlıklı bir şekilde işleyebilmesi ve hizmet sunumunda etkinlik ve memnuniyetin sağlanması amacıyla uygun bir bilgi ve iletişim sistemine sahip olmalıdır.</a:t>
            </a:r>
          </a:p>
        </p:txBody>
      </p:sp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8171561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99" name="Dikdörtgen: Yuvarlatılmış Köşeler 98">
            <a:extLst>
              <a:ext uri="{FF2B5EF4-FFF2-40B4-BE49-F238E27FC236}">
                <a16:creationId xmlns:a16="http://schemas.microsoft.com/office/drawing/2014/main" id="{E29847E6-1449-42D3-9881-F888F49A1878}"/>
              </a:ext>
            </a:extLst>
          </p:cNvPr>
          <p:cNvSpPr/>
          <p:nvPr/>
        </p:nvSpPr>
        <p:spPr>
          <a:xfrm>
            <a:off x="5791200" y="11061217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Genel Şart</a:t>
            </a:r>
          </a:p>
          <a:p>
            <a:r>
              <a:rPr lang="tr-TR" sz="1400" dirty="0"/>
              <a:t>İdarenin yatay ve dikey iletişim sistemi personelin değerlendirme, öneri ve sorunlarını iletebilmelerini sağlamalıdır.</a:t>
            </a:r>
          </a:p>
        </p:txBody>
      </p:sp>
      <p:grpSp>
        <p:nvGrpSpPr>
          <p:cNvPr id="62" name="Grup 61">
            <a:extLst>
              <a:ext uri="{FF2B5EF4-FFF2-40B4-BE49-F238E27FC236}">
                <a16:creationId xmlns:a16="http://schemas.microsoft.com/office/drawing/2014/main" id="{FA5814B8-F351-4863-9B2B-72F66623E48D}"/>
              </a:ext>
            </a:extLst>
          </p:cNvPr>
          <p:cNvGrpSpPr/>
          <p:nvPr/>
        </p:nvGrpSpPr>
        <p:grpSpPr>
          <a:xfrm>
            <a:off x="3900021" y="3039187"/>
            <a:ext cx="1800000" cy="1800000"/>
            <a:chOff x="4296000" y="1550474"/>
            <a:chExt cx="3600000" cy="3600000"/>
          </a:xfrm>
        </p:grpSpPr>
        <p:sp>
          <p:nvSpPr>
            <p:cNvPr id="63" name="Serbest Form: Şekil 62">
              <a:extLst>
                <a:ext uri="{FF2B5EF4-FFF2-40B4-BE49-F238E27FC236}">
                  <a16:creationId xmlns:a16="http://schemas.microsoft.com/office/drawing/2014/main" id="{8077C41B-3307-43B7-9F71-9051CA57B6A2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64" name="Serbest Form: Şekil 63">
              <a:extLst>
                <a:ext uri="{FF2B5EF4-FFF2-40B4-BE49-F238E27FC236}">
                  <a16:creationId xmlns:a16="http://schemas.microsoft.com/office/drawing/2014/main" id="{BA2A7E94-0B88-448D-999E-4581F34FA83D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65" name="Grup 64">
              <a:extLst>
                <a:ext uri="{FF2B5EF4-FFF2-40B4-BE49-F238E27FC236}">
                  <a16:creationId xmlns:a16="http://schemas.microsoft.com/office/drawing/2014/main" id="{104BD2DD-4964-421B-A551-8781F0512FBA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69" name="Daire: Boş 68">
                <a:extLst>
                  <a:ext uri="{FF2B5EF4-FFF2-40B4-BE49-F238E27FC236}">
                    <a16:creationId xmlns:a16="http://schemas.microsoft.com/office/drawing/2014/main" id="{2765D670-5344-4E71-870B-75EA5B41BEF0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08471721-D753-4592-A48D-A2953A68ACDC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66" name="Grup 65">
              <a:extLst>
                <a:ext uri="{FF2B5EF4-FFF2-40B4-BE49-F238E27FC236}">
                  <a16:creationId xmlns:a16="http://schemas.microsoft.com/office/drawing/2014/main" id="{29336748-1D6B-4492-90D6-4942736A17EC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67" name="Daire: Boş 66">
                <a:extLst>
                  <a:ext uri="{FF2B5EF4-FFF2-40B4-BE49-F238E27FC236}">
                    <a16:creationId xmlns:a16="http://schemas.microsoft.com/office/drawing/2014/main" id="{7BAA0DD5-7E51-44D7-8F8F-30C32F9DA75F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3B312D62-62A1-4B87-9F61-5E938AF4A094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147" name="Grup 146">
            <a:extLst>
              <a:ext uri="{FF2B5EF4-FFF2-40B4-BE49-F238E27FC236}">
                <a16:creationId xmlns:a16="http://schemas.microsoft.com/office/drawing/2014/main" id="{8F201DCF-B5D1-4A1A-99ED-488017A11866}"/>
              </a:ext>
            </a:extLst>
          </p:cNvPr>
          <p:cNvGrpSpPr/>
          <p:nvPr/>
        </p:nvGrpSpPr>
        <p:grpSpPr>
          <a:xfrm>
            <a:off x="3866275" y="982796"/>
            <a:ext cx="1800000" cy="1800000"/>
            <a:chOff x="4296000" y="1550474"/>
            <a:chExt cx="3600000" cy="3600000"/>
          </a:xfrm>
        </p:grpSpPr>
        <p:sp>
          <p:nvSpPr>
            <p:cNvPr id="148" name="Serbest Form: Şekil 147">
              <a:extLst>
                <a:ext uri="{FF2B5EF4-FFF2-40B4-BE49-F238E27FC236}">
                  <a16:creationId xmlns:a16="http://schemas.microsoft.com/office/drawing/2014/main" id="{CD68ABAA-9791-4E00-9F72-1389D3EE50F0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49" name="Serbest Form: Şekil 148">
              <a:extLst>
                <a:ext uri="{FF2B5EF4-FFF2-40B4-BE49-F238E27FC236}">
                  <a16:creationId xmlns:a16="http://schemas.microsoft.com/office/drawing/2014/main" id="{62A9157B-0DDC-4740-8F34-9B8A3F689716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150" name="Grup 149">
              <a:extLst>
                <a:ext uri="{FF2B5EF4-FFF2-40B4-BE49-F238E27FC236}">
                  <a16:creationId xmlns:a16="http://schemas.microsoft.com/office/drawing/2014/main" id="{78292B26-1174-481F-84A4-C55C5CFF2EDE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54" name="Daire: Boş 153">
                <a:extLst>
                  <a:ext uri="{FF2B5EF4-FFF2-40B4-BE49-F238E27FC236}">
                    <a16:creationId xmlns:a16="http://schemas.microsoft.com/office/drawing/2014/main" id="{9F4B6FE1-6DBF-4CB2-9BC5-D25128A928CE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Oval 154">
                <a:extLst>
                  <a:ext uri="{FF2B5EF4-FFF2-40B4-BE49-F238E27FC236}">
                    <a16:creationId xmlns:a16="http://schemas.microsoft.com/office/drawing/2014/main" id="{DA9BD701-518E-4818-806E-FC5CC87A5AF9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51" name="Grup 150">
              <a:extLst>
                <a:ext uri="{FF2B5EF4-FFF2-40B4-BE49-F238E27FC236}">
                  <a16:creationId xmlns:a16="http://schemas.microsoft.com/office/drawing/2014/main" id="{EDDCE22B-947A-4395-8D2F-C372F57FE6BF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52" name="Daire: Boş 151">
                <a:extLst>
                  <a:ext uri="{FF2B5EF4-FFF2-40B4-BE49-F238E27FC236}">
                    <a16:creationId xmlns:a16="http://schemas.microsoft.com/office/drawing/2014/main" id="{96406636-0E40-476C-A52D-F02C50247514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53" name="Oval 152">
                <a:extLst>
                  <a:ext uri="{FF2B5EF4-FFF2-40B4-BE49-F238E27FC236}">
                    <a16:creationId xmlns:a16="http://schemas.microsoft.com/office/drawing/2014/main" id="{820812C0-0376-4A7F-BC3E-2F4BC857E3EC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74" name="Oval 173">
            <a:extLst>
              <a:ext uri="{FF2B5EF4-FFF2-40B4-BE49-F238E27FC236}">
                <a16:creationId xmlns:a16="http://schemas.microsoft.com/office/drawing/2014/main" id="{630F12A6-37C5-4F17-82FF-C92AAC9E44F5}"/>
              </a:ext>
            </a:extLst>
          </p:cNvPr>
          <p:cNvSpPr/>
          <p:nvPr/>
        </p:nvSpPr>
        <p:spPr>
          <a:xfrm>
            <a:off x="195819" y="1130907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75" name="Grup 174">
            <a:extLst>
              <a:ext uri="{FF2B5EF4-FFF2-40B4-BE49-F238E27FC236}">
                <a16:creationId xmlns:a16="http://schemas.microsoft.com/office/drawing/2014/main" id="{03D0CEBA-1D0F-4900-83F3-191D359A58FC}"/>
              </a:ext>
            </a:extLst>
          </p:cNvPr>
          <p:cNvGrpSpPr/>
          <p:nvPr/>
        </p:nvGrpSpPr>
        <p:grpSpPr>
          <a:xfrm>
            <a:off x="252969" y="1308532"/>
            <a:ext cx="3600000" cy="3600000"/>
            <a:chOff x="4296000" y="1548914"/>
            <a:chExt cx="3600000" cy="3600000"/>
          </a:xfrm>
        </p:grpSpPr>
        <p:sp>
          <p:nvSpPr>
            <p:cNvPr id="176" name="Serbest Form: Şekil 175">
              <a:extLst>
                <a:ext uri="{FF2B5EF4-FFF2-40B4-BE49-F238E27FC236}">
                  <a16:creationId xmlns:a16="http://schemas.microsoft.com/office/drawing/2014/main" id="{85349199-5DB3-4D54-8A79-28B29E6E929C}"/>
                </a:ext>
              </a:extLst>
            </p:cNvPr>
            <p:cNvSpPr/>
            <p:nvPr/>
          </p:nvSpPr>
          <p:spPr>
            <a:xfrm>
              <a:off x="4296000" y="154891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77" name="Serbest Form: Şekil 176">
              <a:extLst>
                <a:ext uri="{FF2B5EF4-FFF2-40B4-BE49-F238E27FC236}">
                  <a16:creationId xmlns:a16="http://schemas.microsoft.com/office/drawing/2014/main" id="{69F6C97B-8883-4989-9417-AEB2FC214AF9}"/>
                </a:ext>
              </a:extLst>
            </p:cNvPr>
            <p:cNvSpPr/>
            <p:nvPr/>
          </p:nvSpPr>
          <p:spPr>
            <a:xfrm>
              <a:off x="4296000" y="334891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78" name="Grup 177">
              <a:extLst>
                <a:ext uri="{FF2B5EF4-FFF2-40B4-BE49-F238E27FC236}">
                  <a16:creationId xmlns:a16="http://schemas.microsoft.com/office/drawing/2014/main" id="{5D803949-5902-44DF-8B98-E6FD69E81847}"/>
                </a:ext>
              </a:extLst>
            </p:cNvPr>
            <p:cNvGrpSpPr/>
            <p:nvPr/>
          </p:nvGrpSpPr>
          <p:grpSpPr>
            <a:xfrm>
              <a:off x="4296000" y="2448914"/>
              <a:ext cx="1800000" cy="1800000"/>
              <a:chOff x="4296000" y="2117236"/>
              <a:chExt cx="1800000" cy="1800000"/>
            </a:xfrm>
          </p:grpSpPr>
          <p:sp>
            <p:nvSpPr>
              <p:cNvPr id="182" name="Daire: Boş 181">
                <a:extLst>
                  <a:ext uri="{FF2B5EF4-FFF2-40B4-BE49-F238E27FC236}">
                    <a16:creationId xmlns:a16="http://schemas.microsoft.com/office/drawing/2014/main" id="{482CD44F-EAB8-4A00-A687-2AFBF2400786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3750386-F5BC-4612-AECD-AA6E3BF1A465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79" name="Grup 178">
              <a:extLst>
                <a:ext uri="{FF2B5EF4-FFF2-40B4-BE49-F238E27FC236}">
                  <a16:creationId xmlns:a16="http://schemas.microsoft.com/office/drawing/2014/main" id="{465EF946-2D46-4B0E-8230-3221497CB936}"/>
                </a:ext>
              </a:extLst>
            </p:cNvPr>
            <p:cNvGrpSpPr/>
            <p:nvPr/>
          </p:nvGrpSpPr>
          <p:grpSpPr>
            <a:xfrm>
              <a:off x="6096000" y="2396988"/>
              <a:ext cx="1800000" cy="1800000"/>
              <a:chOff x="1534499" y="2640201"/>
              <a:chExt cx="1800000" cy="1800000"/>
            </a:xfrm>
          </p:grpSpPr>
          <p:sp>
            <p:nvSpPr>
              <p:cNvPr id="180" name="Daire: Boş 179">
                <a:extLst>
                  <a:ext uri="{FF2B5EF4-FFF2-40B4-BE49-F238E27FC236}">
                    <a16:creationId xmlns:a16="http://schemas.microsoft.com/office/drawing/2014/main" id="{9E510463-D6F9-42F8-A6EC-9FAF5CEFB207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8476154E-3B7A-40B1-9690-7670F9BD3886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84" name="Oval 183">
            <a:extLst>
              <a:ext uri="{FF2B5EF4-FFF2-40B4-BE49-F238E27FC236}">
                <a16:creationId xmlns:a16="http://schemas.microsoft.com/office/drawing/2014/main" id="{38495419-0251-4F54-88AE-E9FFB0D8501C}"/>
              </a:ext>
            </a:extLst>
          </p:cNvPr>
          <p:cNvSpPr/>
          <p:nvPr/>
        </p:nvSpPr>
        <p:spPr>
          <a:xfrm>
            <a:off x="236191" y="1152732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85" name="Grup 184">
            <a:extLst>
              <a:ext uri="{FF2B5EF4-FFF2-40B4-BE49-F238E27FC236}">
                <a16:creationId xmlns:a16="http://schemas.microsoft.com/office/drawing/2014/main" id="{C0587A5D-6F7B-4CDC-B29C-A646CB57AC36}"/>
              </a:ext>
            </a:extLst>
          </p:cNvPr>
          <p:cNvGrpSpPr/>
          <p:nvPr/>
        </p:nvGrpSpPr>
        <p:grpSpPr>
          <a:xfrm>
            <a:off x="252969" y="1308532"/>
            <a:ext cx="3600000" cy="3600000"/>
            <a:chOff x="4296000" y="1550474"/>
            <a:chExt cx="3600000" cy="3600000"/>
          </a:xfrm>
        </p:grpSpPr>
        <p:sp>
          <p:nvSpPr>
            <p:cNvPr id="186" name="Serbest Form: Şekil 185">
              <a:extLst>
                <a:ext uri="{FF2B5EF4-FFF2-40B4-BE49-F238E27FC236}">
                  <a16:creationId xmlns:a16="http://schemas.microsoft.com/office/drawing/2014/main" id="{F4E423D2-862E-4244-B4C9-CF95CCEBA247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87" name="Serbest Form: Şekil 186">
              <a:extLst>
                <a:ext uri="{FF2B5EF4-FFF2-40B4-BE49-F238E27FC236}">
                  <a16:creationId xmlns:a16="http://schemas.microsoft.com/office/drawing/2014/main" id="{D9F81AF3-56AF-49EB-B294-61850AEFF700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88" name="Grup 187">
              <a:extLst>
                <a:ext uri="{FF2B5EF4-FFF2-40B4-BE49-F238E27FC236}">
                  <a16:creationId xmlns:a16="http://schemas.microsoft.com/office/drawing/2014/main" id="{E8744FEE-27EA-4D93-9428-9B2A2244F0BE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92" name="Daire: Boş 191">
                <a:extLst>
                  <a:ext uri="{FF2B5EF4-FFF2-40B4-BE49-F238E27FC236}">
                    <a16:creationId xmlns:a16="http://schemas.microsoft.com/office/drawing/2014/main" id="{84A3D9DF-5173-4587-A9C5-970B6B20A0CF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93F3D2CF-C85B-4911-9186-205FE8C758B8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89" name="Grup 188">
              <a:extLst>
                <a:ext uri="{FF2B5EF4-FFF2-40B4-BE49-F238E27FC236}">
                  <a16:creationId xmlns:a16="http://schemas.microsoft.com/office/drawing/2014/main" id="{C61FE238-2027-4E05-9A05-18E6F658A101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90" name="Daire: Boş 189">
                <a:extLst>
                  <a:ext uri="{FF2B5EF4-FFF2-40B4-BE49-F238E27FC236}">
                    <a16:creationId xmlns:a16="http://schemas.microsoft.com/office/drawing/2014/main" id="{86F7EF9F-105C-4671-91C1-FAE4D47BC5DC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41F1A2F5-C5D6-46C1-BB8B-16E60B106876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61" name="Grup 60">
            <a:extLst>
              <a:ext uri="{FF2B5EF4-FFF2-40B4-BE49-F238E27FC236}">
                <a16:creationId xmlns:a16="http://schemas.microsoft.com/office/drawing/2014/main" id="{B949847B-FFF0-4E57-B18B-D1269D778319}"/>
              </a:ext>
            </a:extLst>
          </p:cNvPr>
          <p:cNvGrpSpPr/>
          <p:nvPr/>
        </p:nvGrpSpPr>
        <p:grpSpPr>
          <a:xfrm>
            <a:off x="6096000" y="7426901"/>
            <a:ext cx="900000" cy="900000"/>
            <a:chOff x="4296000" y="1550474"/>
            <a:chExt cx="3600000" cy="3600000"/>
          </a:xfrm>
        </p:grpSpPr>
        <p:sp>
          <p:nvSpPr>
            <p:cNvPr id="71" name="Serbest Form: Şekil 70">
              <a:extLst>
                <a:ext uri="{FF2B5EF4-FFF2-40B4-BE49-F238E27FC236}">
                  <a16:creationId xmlns:a16="http://schemas.microsoft.com/office/drawing/2014/main" id="{C73D2DD0-723F-48B9-99D1-B6300E237DAE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2" name="Serbest Form: Şekil 71">
              <a:extLst>
                <a:ext uri="{FF2B5EF4-FFF2-40B4-BE49-F238E27FC236}">
                  <a16:creationId xmlns:a16="http://schemas.microsoft.com/office/drawing/2014/main" id="{CDABCC06-CB15-472C-A29F-A489AF7E8C8F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73" name="Grup 72">
              <a:extLst>
                <a:ext uri="{FF2B5EF4-FFF2-40B4-BE49-F238E27FC236}">
                  <a16:creationId xmlns:a16="http://schemas.microsoft.com/office/drawing/2014/main" id="{922A9D4D-D696-4D9F-8913-ED80913100C4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77" name="Daire: Boş 76">
                <a:extLst>
                  <a:ext uri="{FF2B5EF4-FFF2-40B4-BE49-F238E27FC236}">
                    <a16:creationId xmlns:a16="http://schemas.microsoft.com/office/drawing/2014/main" id="{F53F1213-1041-40AC-AEF1-F08C328B9590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A41B6AB9-C0A9-4821-8A01-B30641030F69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74" name="Grup 73">
              <a:extLst>
                <a:ext uri="{FF2B5EF4-FFF2-40B4-BE49-F238E27FC236}">
                  <a16:creationId xmlns:a16="http://schemas.microsoft.com/office/drawing/2014/main" id="{BF93ACDD-0A29-4D30-BA00-BDF2A46032D0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75" name="Daire: Boş 74">
                <a:extLst>
                  <a:ext uri="{FF2B5EF4-FFF2-40B4-BE49-F238E27FC236}">
                    <a16:creationId xmlns:a16="http://schemas.microsoft.com/office/drawing/2014/main" id="{F7DE57D5-A03C-4EB1-A091-760077E8D363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300F038-0291-4B92-A385-5BF503DABF07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79" name="Dikdörtgen: Yuvarlatılmış Köşeler 78">
            <a:extLst>
              <a:ext uri="{FF2B5EF4-FFF2-40B4-BE49-F238E27FC236}">
                <a16:creationId xmlns:a16="http://schemas.microsoft.com/office/drawing/2014/main" id="{2DADBCCB-6C13-4D91-9A21-B9B6AF493904}"/>
              </a:ext>
            </a:extLst>
          </p:cNvPr>
          <p:cNvSpPr/>
          <p:nvPr/>
        </p:nvSpPr>
        <p:spPr>
          <a:xfrm>
            <a:off x="7631250" y="7408791"/>
            <a:ext cx="4307098" cy="918110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  <p:sp>
        <p:nvSpPr>
          <p:cNvPr id="80" name="Dikdörtgen: Yuvarlatılmış Köşeler 79">
            <a:extLst>
              <a:ext uri="{FF2B5EF4-FFF2-40B4-BE49-F238E27FC236}">
                <a16:creationId xmlns:a16="http://schemas.microsoft.com/office/drawing/2014/main" id="{389E2BF1-1EED-407E-ACDE-8CB22944EAA4}"/>
              </a:ext>
            </a:extLst>
          </p:cNvPr>
          <p:cNvSpPr/>
          <p:nvPr/>
        </p:nvSpPr>
        <p:spPr>
          <a:xfrm>
            <a:off x="7631250" y="-1886636"/>
            <a:ext cx="4307098" cy="959536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E.13.7.2</a:t>
            </a:r>
          </a:p>
          <a:p>
            <a:r>
              <a:rPr lang="tr-TR" sz="1400" dirty="0"/>
              <a:t>81 İl Sağlık Müdürlüğü çalışanlarına yönelik memnuniyet araştırması yapılması, sonuçların değerlendirilerek raporlanması </a:t>
            </a:r>
          </a:p>
        </p:txBody>
      </p:sp>
      <p:sp>
        <p:nvSpPr>
          <p:cNvPr id="81" name="Dikdörtgen: Yuvarlatılmış Köşeler 80">
            <a:extLst>
              <a:ext uri="{FF2B5EF4-FFF2-40B4-BE49-F238E27FC236}">
                <a16:creationId xmlns:a16="http://schemas.microsoft.com/office/drawing/2014/main" id="{2F603283-27E7-47FC-8DB7-0E88010E6E65}"/>
              </a:ext>
            </a:extLst>
          </p:cNvPr>
          <p:cNvSpPr/>
          <p:nvPr/>
        </p:nvSpPr>
        <p:spPr>
          <a:xfrm>
            <a:off x="14212734" y="2193306"/>
            <a:ext cx="4307098" cy="1032494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Sorumlu Birim</a:t>
            </a:r>
            <a:endParaRPr lang="tr-TR" sz="1400" dirty="0"/>
          </a:p>
          <a:p>
            <a:r>
              <a:rPr lang="tr-TR" sz="1400" dirty="0"/>
              <a:t>Sağlığın Geliştirilmesi Genel Müdürlüğü</a:t>
            </a:r>
          </a:p>
        </p:txBody>
      </p:sp>
      <p:grpSp>
        <p:nvGrpSpPr>
          <p:cNvPr id="82" name="Grup 81">
            <a:extLst>
              <a:ext uri="{FF2B5EF4-FFF2-40B4-BE49-F238E27FC236}">
                <a16:creationId xmlns:a16="http://schemas.microsoft.com/office/drawing/2014/main" id="{FA4937FC-0C75-4565-97CA-D1E8DD9D850E}"/>
              </a:ext>
            </a:extLst>
          </p:cNvPr>
          <p:cNvGrpSpPr/>
          <p:nvPr/>
        </p:nvGrpSpPr>
        <p:grpSpPr>
          <a:xfrm>
            <a:off x="12677484" y="2227164"/>
            <a:ext cx="900000" cy="900000"/>
            <a:chOff x="4296000" y="1550474"/>
            <a:chExt cx="3600000" cy="3600000"/>
          </a:xfrm>
        </p:grpSpPr>
        <p:sp>
          <p:nvSpPr>
            <p:cNvPr id="83" name="Serbest Form: Şekil 82">
              <a:extLst>
                <a:ext uri="{FF2B5EF4-FFF2-40B4-BE49-F238E27FC236}">
                  <a16:creationId xmlns:a16="http://schemas.microsoft.com/office/drawing/2014/main" id="{395A6F1C-D6A7-4621-9395-AC144D327F6D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84" name="Serbest Form: Şekil 83">
              <a:extLst>
                <a:ext uri="{FF2B5EF4-FFF2-40B4-BE49-F238E27FC236}">
                  <a16:creationId xmlns:a16="http://schemas.microsoft.com/office/drawing/2014/main" id="{0A6760FE-444B-4434-A871-E9DDB74FED08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85" name="Grup 84">
              <a:extLst>
                <a:ext uri="{FF2B5EF4-FFF2-40B4-BE49-F238E27FC236}">
                  <a16:creationId xmlns:a16="http://schemas.microsoft.com/office/drawing/2014/main" id="{FB7F142A-58BA-423A-865F-BD362DF9021F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89" name="Daire: Boş 88">
                <a:extLst>
                  <a:ext uri="{FF2B5EF4-FFF2-40B4-BE49-F238E27FC236}">
                    <a16:creationId xmlns:a16="http://schemas.microsoft.com/office/drawing/2014/main" id="{5D884656-30FE-4DB4-A362-5F523F8D5851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F28832C3-842D-4EC1-9F31-4E1DAAEE30E2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86" name="Grup 85">
              <a:extLst>
                <a:ext uri="{FF2B5EF4-FFF2-40B4-BE49-F238E27FC236}">
                  <a16:creationId xmlns:a16="http://schemas.microsoft.com/office/drawing/2014/main" id="{BE18E26F-81DB-44A7-86D8-441A4DC3B700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87" name="Daire: Boş 86">
                <a:extLst>
                  <a:ext uri="{FF2B5EF4-FFF2-40B4-BE49-F238E27FC236}">
                    <a16:creationId xmlns:a16="http://schemas.microsoft.com/office/drawing/2014/main" id="{7E54B804-6D4F-4A4B-B71B-AFAE33115D71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C68F7977-BF45-4F0C-9267-B26A3BF2369F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91" name="Grup 90">
            <a:extLst>
              <a:ext uri="{FF2B5EF4-FFF2-40B4-BE49-F238E27FC236}">
                <a16:creationId xmlns:a16="http://schemas.microsoft.com/office/drawing/2014/main" id="{054623DF-F64E-40C3-B09F-CED0620DBCA4}"/>
              </a:ext>
            </a:extLst>
          </p:cNvPr>
          <p:cNvGrpSpPr/>
          <p:nvPr/>
        </p:nvGrpSpPr>
        <p:grpSpPr>
          <a:xfrm>
            <a:off x="6111250" y="-1927314"/>
            <a:ext cx="900000" cy="900000"/>
            <a:chOff x="4296000" y="1550474"/>
            <a:chExt cx="3600000" cy="3600000"/>
          </a:xfrm>
        </p:grpSpPr>
        <p:sp>
          <p:nvSpPr>
            <p:cNvPr id="92" name="Serbest Form: Şekil 91">
              <a:extLst>
                <a:ext uri="{FF2B5EF4-FFF2-40B4-BE49-F238E27FC236}">
                  <a16:creationId xmlns:a16="http://schemas.microsoft.com/office/drawing/2014/main" id="{F4FA1EC6-4748-43AC-A77E-5F26FA227D5D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93" name="Serbest Form: Şekil 92">
              <a:extLst>
                <a:ext uri="{FF2B5EF4-FFF2-40B4-BE49-F238E27FC236}">
                  <a16:creationId xmlns:a16="http://schemas.microsoft.com/office/drawing/2014/main" id="{0E7826A7-8814-4097-9425-6D9C42B133EA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94" name="Grup 93">
              <a:extLst>
                <a:ext uri="{FF2B5EF4-FFF2-40B4-BE49-F238E27FC236}">
                  <a16:creationId xmlns:a16="http://schemas.microsoft.com/office/drawing/2014/main" id="{B33FBE24-78E6-401B-8055-194689AD4413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00" name="Daire: Boş 99">
                <a:extLst>
                  <a:ext uri="{FF2B5EF4-FFF2-40B4-BE49-F238E27FC236}">
                    <a16:creationId xmlns:a16="http://schemas.microsoft.com/office/drawing/2014/main" id="{C0D86613-7DDE-47BD-AB39-EB5F4FBF569C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755D39B1-1755-4706-8387-68A83F560C76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95" name="Grup 94">
              <a:extLst>
                <a:ext uri="{FF2B5EF4-FFF2-40B4-BE49-F238E27FC236}">
                  <a16:creationId xmlns:a16="http://schemas.microsoft.com/office/drawing/2014/main" id="{5B8B34FA-BD24-43A9-A5D2-70CCE4A2184F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96" name="Daire: Boş 95">
                <a:extLst>
                  <a:ext uri="{FF2B5EF4-FFF2-40B4-BE49-F238E27FC236}">
                    <a16:creationId xmlns:a16="http://schemas.microsoft.com/office/drawing/2014/main" id="{C859AC12-3066-406F-8912-359FB27D35E6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863DE18-7786-4755-B10A-D5FE386E0467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03" name="Dikdörtgen: Yuvarlatılmış Köşeler 102">
            <a:extLst>
              <a:ext uri="{FF2B5EF4-FFF2-40B4-BE49-F238E27FC236}">
                <a16:creationId xmlns:a16="http://schemas.microsoft.com/office/drawing/2014/main" id="{5D0561CF-2E3E-4050-B0A9-C43FA74BA679}"/>
              </a:ext>
            </a:extLst>
          </p:cNvPr>
          <p:cNvSpPr/>
          <p:nvPr/>
        </p:nvSpPr>
        <p:spPr>
          <a:xfrm>
            <a:off x="14212734" y="3726317"/>
            <a:ext cx="4307098" cy="900000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tr-TR" sz="1400" dirty="0"/>
          </a:p>
          <a:p>
            <a:r>
              <a:rPr lang="tr-TR" sz="1400" b="1" u="sng" dirty="0"/>
              <a:t>Eylem Çıktısı</a:t>
            </a:r>
          </a:p>
          <a:p>
            <a:r>
              <a:rPr lang="tr-TR" sz="1400" dirty="0"/>
              <a:t>İl Sağlık Müdürlükleri Çalışan Memnuniyet Araştırması Sonuç Raporu </a:t>
            </a:r>
          </a:p>
        </p:txBody>
      </p:sp>
      <p:grpSp>
        <p:nvGrpSpPr>
          <p:cNvPr id="104" name="Grup 103">
            <a:extLst>
              <a:ext uri="{FF2B5EF4-FFF2-40B4-BE49-F238E27FC236}">
                <a16:creationId xmlns:a16="http://schemas.microsoft.com/office/drawing/2014/main" id="{A89CAB9A-85FE-40AA-B0B1-3C8F1023DC0B}"/>
              </a:ext>
            </a:extLst>
          </p:cNvPr>
          <p:cNvGrpSpPr/>
          <p:nvPr/>
        </p:nvGrpSpPr>
        <p:grpSpPr>
          <a:xfrm>
            <a:off x="12677484" y="3760175"/>
            <a:ext cx="900000" cy="900000"/>
            <a:chOff x="4296000" y="1550474"/>
            <a:chExt cx="3600000" cy="3600000"/>
          </a:xfrm>
        </p:grpSpPr>
        <p:sp>
          <p:nvSpPr>
            <p:cNvPr id="105" name="Serbest Form: Şekil 104">
              <a:extLst>
                <a:ext uri="{FF2B5EF4-FFF2-40B4-BE49-F238E27FC236}">
                  <a16:creationId xmlns:a16="http://schemas.microsoft.com/office/drawing/2014/main" id="{81A25E06-6387-44F8-AED3-0228B9AFC434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06" name="Serbest Form: Şekil 105">
              <a:extLst>
                <a:ext uri="{FF2B5EF4-FFF2-40B4-BE49-F238E27FC236}">
                  <a16:creationId xmlns:a16="http://schemas.microsoft.com/office/drawing/2014/main" id="{14D87604-B975-48B5-9084-77AFB4E92FB1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07" name="Grup 106">
              <a:extLst>
                <a:ext uri="{FF2B5EF4-FFF2-40B4-BE49-F238E27FC236}">
                  <a16:creationId xmlns:a16="http://schemas.microsoft.com/office/drawing/2014/main" id="{8EB6BFBE-7177-4C59-A12C-9BA065ABD5A1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11" name="Daire: Boş 110">
                <a:extLst>
                  <a:ext uri="{FF2B5EF4-FFF2-40B4-BE49-F238E27FC236}">
                    <a16:creationId xmlns:a16="http://schemas.microsoft.com/office/drawing/2014/main" id="{FE934A15-3EB3-439D-B288-B277DEFA0007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76742F95-86A3-4B12-A6B7-EF0ED5DBF504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08" name="Grup 107">
              <a:extLst>
                <a:ext uri="{FF2B5EF4-FFF2-40B4-BE49-F238E27FC236}">
                  <a16:creationId xmlns:a16="http://schemas.microsoft.com/office/drawing/2014/main" id="{DFC97837-C76D-4A16-8543-EF1299A41A80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09" name="Daire: Boş 108">
                <a:extLst>
                  <a:ext uri="{FF2B5EF4-FFF2-40B4-BE49-F238E27FC236}">
                    <a16:creationId xmlns:a16="http://schemas.microsoft.com/office/drawing/2014/main" id="{2E59340C-B956-4626-A60B-A512D70779EF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6C178951-E662-46A1-BC38-9961DB5EEA35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13" name="Konuşma Balonu: Oval 112">
            <a:extLst>
              <a:ext uri="{FF2B5EF4-FFF2-40B4-BE49-F238E27FC236}">
                <a16:creationId xmlns:a16="http://schemas.microsoft.com/office/drawing/2014/main" id="{30BCEF5F-38F1-48F7-B64B-33A4E33DC15D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396581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14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17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3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6" dur="3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8" dur="3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Dikdörtgen: Yuvarlatılmış Köşeler 97">
            <a:extLst>
              <a:ext uri="{FF2B5EF4-FFF2-40B4-BE49-F238E27FC236}">
                <a16:creationId xmlns:a16="http://schemas.microsoft.com/office/drawing/2014/main" id="{4CAB0BEF-371E-44E9-A877-7AA91D3541CE}"/>
              </a:ext>
            </a:extLst>
          </p:cNvPr>
          <p:cNvSpPr/>
          <p:nvPr/>
        </p:nvSpPr>
        <p:spPr>
          <a:xfrm>
            <a:off x="5754216" y="-4245463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Standart-13 (BİS)</a:t>
            </a:r>
          </a:p>
          <a:p>
            <a:r>
              <a:rPr lang="tr-TR" sz="1400" dirty="0"/>
              <a:t>Bilgi ve İletişim: İdareler, birimlerinin ve çalışanlarının performansının izlenebilmesi, karar alma süreçlerinin sağlıklı bir şekilde işleyebilmesi ve hizmet sunumunda etkinlik ve memnuniyetin sağlanması amacıyla uygun bir bilgi ve iletişim sistemine sahip olmalıdır.</a:t>
            </a:r>
          </a:p>
        </p:txBody>
      </p:sp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8171561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99" name="Dikdörtgen: Yuvarlatılmış Köşeler 98">
            <a:extLst>
              <a:ext uri="{FF2B5EF4-FFF2-40B4-BE49-F238E27FC236}">
                <a16:creationId xmlns:a16="http://schemas.microsoft.com/office/drawing/2014/main" id="{E29847E6-1449-42D3-9881-F888F49A1878}"/>
              </a:ext>
            </a:extLst>
          </p:cNvPr>
          <p:cNvSpPr/>
          <p:nvPr/>
        </p:nvSpPr>
        <p:spPr>
          <a:xfrm>
            <a:off x="5791200" y="11061217"/>
            <a:ext cx="4307098" cy="1363608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Genel Şart</a:t>
            </a:r>
          </a:p>
          <a:p>
            <a:r>
              <a:rPr lang="tr-TR" sz="1400" dirty="0"/>
              <a:t>İdarenin yatay ve dikey iletişim sistemi personelin değerlendirme, öneri ve sorunlarını iletebilmelerini sağlamalıdır.</a:t>
            </a:r>
          </a:p>
        </p:txBody>
      </p:sp>
      <p:sp>
        <p:nvSpPr>
          <p:cNvPr id="174" name="Oval 173">
            <a:extLst>
              <a:ext uri="{FF2B5EF4-FFF2-40B4-BE49-F238E27FC236}">
                <a16:creationId xmlns:a16="http://schemas.microsoft.com/office/drawing/2014/main" id="{630F12A6-37C5-4F17-82FF-C92AAC9E44F5}"/>
              </a:ext>
            </a:extLst>
          </p:cNvPr>
          <p:cNvSpPr/>
          <p:nvPr/>
        </p:nvSpPr>
        <p:spPr>
          <a:xfrm>
            <a:off x="1393436" y="1002017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75" name="Grup 174">
            <a:extLst>
              <a:ext uri="{FF2B5EF4-FFF2-40B4-BE49-F238E27FC236}">
                <a16:creationId xmlns:a16="http://schemas.microsoft.com/office/drawing/2014/main" id="{03D0CEBA-1D0F-4900-83F3-191D359A58FC}"/>
              </a:ext>
            </a:extLst>
          </p:cNvPr>
          <p:cNvGrpSpPr/>
          <p:nvPr/>
        </p:nvGrpSpPr>
        <p:grpSpPr>
          <a:xfrm>
            <a:off x="1450586" y="1179642"/>
            <a:ext cx="3600000" cy="3600000"/>
            <a:chOff x="4296000" y="1548914"/>
            <a:chExt cx="3600000" cy="3600000"/>
          </a:xfrm>
        </p:grpSpPr>
        <p:sp>
          <p:nvSpPr>
            <p:cNvPr id="176" name="Serbest Form: Şekil 175">
              <a:extLst>
                <a:ext uri="{FF2B5EF4-FFF2-40B4-BE49-F238E27FC236}">
                  <a16:creationId xmlns:a16="http://schemas.microsoft.com/office/drawing/2014/main" id="{85349199-5DB3-4D54-8A79-28B29E6E929C}"/>
                </a:ext>
              </a:extLst>
            </p:cNvPr>
            <p:cNvSpPr/>
            <p:nvPr/>
          </p:nvSpPr>
          <p:spPr>
            <a:xfrm>
              <a:off x="4296000" y="154891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77" name="Serbest Form: Şekil 176">
              <a:extLst>
                <a:ext uri="{FF2B5EF4-FFF2-40B4-BE49-F238E27FC236}">
                  <a16:creationId xmlns:a16="http://schemas.microsoft.com/office/drawing/2014/main" id="{69F6C97B-8883-4989-9417-AEB2FC214AF9}"/>
                </a:ext>
              </a:extLst>
            </p:cNvPr>
            <p:cNvSpPr/>
            <p:nvPr/>
          </p:nvSpPr>
          <p:spPr>
            <a:xfrm>
              <a:off x="4296000" y="334891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78" name="Grup 177">
              <a:extLst>
                <a:ext uri="{FF2B5EF4-FFF2-40B4-BE49-F238E27FC236}">
                  <a16:creationId xmlns:a16="http://schemas.microsoft.com/office/drawing/2014/main" id="{5D803949-5902-44DF-8B98-E6FD69E81847}"/>
                </a:ext>
              </a:extLst>
            </p:cNvPr>
            <p:cNvGrpSpPr/>
            <p:nvPr/>
          </p:nvGrpSpPr>
          <p:grpSpPr>
            <a:xfrm>
              <a:off x="4296000" y="2448914"/>
              <a:ext cx="1800000" cy="1800000"/>
              <a:chOff x="4296000" y="2117236"/>
              <a:chExt cx="1800000" cy="1800000"/>
            </a:xfrm>
          </p:grpSpPr>
          <p:sp>
            <p:nvSpPr>
              <p:cNvPr id="182" name="Daire: Boş 181">
                <a:extLst>
                  <a:ext uri="{FF2B5EF4-FFF2-40B4-BE49-F238E27FC236}">
                    <a16:creationId xmlns:a16="http://schemas.microsoft.com/office/drawing/2014/main" id="{482CD44F-EAB8-4A00-A687-2AFBF2400786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83" name="Oval 182">
                <a:extLst>
                  <a:ext uri="{FF2B5EF4-FFF2-40B4-BE49-F238E27FC236}">
                    <a16:creationId xmlns:a16="http://schemas.microsoft.com/office/drawing/2014/main" id="{E3750386-F5BC-4612-AECD-AA6E3BF1A465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79" name="Grup 178">
              <a:extLst>
                <a:ext uri="{FF2B5EF4-FFF2-40B4-BE49-F238E27FC236}">
                  <a16:creationId xmlns:a16="http://schemas.microsoft.com/office/drawing/2014/main" id="{465EF946-2D46-4B0E-8230-3221497CB936}"/>
                </a:ext>
              </a:extLst>
            </p:cNvPr>
            <p:cNvGrpSpPr/>
            <p:nvPr/>
          </p:nvGrpSpPr>
          <p:grpSpPr>
            <a:xfrm>
              <a:off x="6096000" y="2396988"/>
              <a:ext cx="1800000" cy="1800000"/>
              <a:chOff x="1534499" y="2640201"/>
              <a:chExt cx="1800000" cy="1800000"/>
            </a:xfrm>
          </p:grpSpPr>
          <p:sp>
            <p:nvSpPr>
              <p:cNvPr id="180" name="Daire: Boş 179">
                <a:extLst>
                  <a:ext uri="{FF2B5EF4-FFF2-40B4-BE49-F238E27FC236}">
                    <a16:creationId xmlns:a16="http://schemas.microsoft.com/office/drawing/2014/main" id="{9E510463-D6F9-42F8-A6EC-9FAF5CEFB207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81" name="Oval 180">
                <a:extLst>
                  <a:ext uri="{FF2B5EF4-FFF2-40B4-BE49-F238E27FC236}">
                    <a16:creationId xmlns:a16="http://schemas.microsoft.com/office/drawing/2014/main" id="{8476154E-3B7A-40B1-9690-7670F9BD3886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84" name="Oval 183">
            <a:extLst>
              <a:ext uri="{FF2B5EF4-FFF2-40B4-BE49-F238E27FC236}">
                <a16:creationId xmlns:a16="http://schemas.microsoft.com/office/drawing/2014/main" id="{38495419-0251-4F54-88AE-E9FFB0D8501C}"/>
              </a:ext>
            </a:extLst>
          </p:cNvPr>
          <p:cNvSpPr/>
          <p:nvPr/>
        </p:nvSpPr>
        <p:spPr>
          <a:xfrm>
            <a:off x="1433808" y="1023842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185" name="Grup 184">
            <a:extLst>
              <a:ext uri="{FF2B5EF4-FFF2-40B4-BE49-F238E27FC236}">
                <a16:creationId xmlns:a16="http://schemas.microsoft.com/office/drawing/2014/main" id="{C0587A5D-6F7B-4CDC-B29C-A646CB57AC36}"/>
              </a:ext>
            </a:extLst>
          </p:cNvPr>
          <p:cNvGrpSpPr/>
          <p:nvPr/>
        </p:nvGrpSpPr>
        <p:grpSpPr>
          <a:xfrm>
            <a:off x="1450586" y="1179642"/>
            <a:ext cx="3600000" cy="3600000"/>
            <a:chOff x="4296000" y="1550474"/>
            <a:chExt cx="3600000" cy="3600000"/>
          </a:xfrm>
        </p:grpSpPr>
        <p:sp>
          <p:nvSpPr>
            <p:cNvPr id="186" name="Serbest Form: Şekil 185">
              <a:extLst>
                <a:ext uri="{FF2B5EF4-FFF2-40B4-BE49-F238E27FC236}">
                  <a16:creationId xmlns:a16="http://schemas.microsoft.com/office/drawing/2014/main" id="{F4E423D2-862E-4244-B4C9-CF95CCEBA247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87" name="Serbest Form: Şekil 186">
              <a:extLst>
                <a:ext uri="{FF2B5EF4-FFF2-40B4-BE49-F238E27FC236}">
                  <a16:creationId xmlns:a16="http://schemas.microsoft.com/office/drawing/2014/main" id="{D9F81AF3-56AF-49EB-B294-61850AEFF700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88" name="Grup 187">
              <a:extLst>
                <a:ext uri="{FF2B5EF4-FFF2-40B4-BE49-F238E27FC236}">
                  <a16:creationId xmlns:a16="http://schemas.microsoft.com/office/drawing/2014/main" id="{E8744FEE-27EA-4D93-9428-9B2A2244F0BE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92" name="Daire: Boş 191">
                <a:extLst>
                  <a:ext uri="{FF2B5EF4-FFF2-40B4-BE49-F238E27FC236}">
                    <a16:creationId xmlns:a16="http://schemas.microsoft.com/office/drawing/2014/main" id="{84A3D9DF-5173-4587-A9C5-970B6B20A0CF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93" name="Oval 192">
                <a:extLst>
                  <a:ext uri="{FF2B5EF4-FFF2-40B4-BE49-F238E27FC236}">
                    <a16:creationId xmlns:a16="http://schemas.microsoft.com/office/drawing/2014/main" id="{93F3D2CF-C85B-4911-9186-205FE8C758B8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89" name="Grup 188">
              <a:extLst>
                <a:ext uri="{FF2B5EF4-FFF2-40B4-BE49-F238E27FC236}">
                  <a16:creationId xmlns:a16="http://schemas.microsoft.com/office/drawing/2014/main" id="{C61FE238-2027-4E05-9A05-18E6F658A101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90" name="Daire: Boş 189">
                <a:extLst>
                  <a:ext uri="{FF2B5EF4-FFF2-40B4-BE49-F238E27FC236}">
                    <a16:creationId xmlns:a16="http://schemas.microsoft.com/office/drawing/2014/main" id="{86F7EF9F-105C-4671-91C1-FAE4D47BC5DC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91" name="Oval 190">
                <a:extLst>
                  <a:ext uri="{FF2B5EF4-FFF2-40B4-BE49-F238E27FC236}">
                    <a16:creationId xmlns:a16="http://schemas.microsoft.com/office/drawing/2014/main" id="{41F1A2F5-C5D6-46C1-BB8B-16E60B106876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81" name="Dikdörtgen: Yuvarlatılmış Köşeler 80">
            <a:extLst>
              <a:ext uri="{FF2B5EF4-FFF2-40B4-BE49-F238E27FC236}">
                <a16:creationId xmlns:a16="http://schemas.microsoft.com/office/drawing/2014/main" id="{2F603283-27E7-47FC-8DB7-0E88010E6E65}"/>
              </a:ext>
            </a:extLst>
          </p:cNvPr>
          <p:cNvSpPr/>
          <p:nvPr/>
        </p:nvSpPr>
        <p:spPr>
          <a:xfrm>
            <a:off x="6945159" y="1937953"/>
            <a:ext cx="4307098" cy="1032494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Sorumlu Birim</a:t>
            </a:r>
            <a:endParaRPr lang="tr-TR" sz="1400" dirty="0"/>
          </a:p>
          <a:p>
            <a:r>
              <a:rPr lang="tr-TR" sz="1400" dirty="0"/>
              <a:t>Sağlığın Geliştirilmesi Genel Müdürlüğü</a:t>
            </a:r>
          </a:p>
        </p:txBody>
      </p:sp>
      <p:grpSp>
        <p:nvGrpSpPr>
          <p:cNvPr id="82" name="Grup 81">
            <a:extLst>
              <a:ext uri="{FF2B5EF4-FFF2-40B4-BE49-F238E27FC236}">
                <a16:creationId xmlns:a16="http://schemas.microsoft.com/office/drawing/2014/main" id="{FA4937FC-0C75-4565-97CA-D1E8DD9D850E}"/>
              </a:ext>
            </a:extLst>
          </p:cNvPr>
          <p:cNvGrpSpPr/>
          <p:nvPr/>
        </p:nvGrpSpPr>
        <p:grpSpPr>
          <a:xfrm>
            <a:off x="5714709" y="1990861"/>
            <a:ext cx="900000" cy="900000"/>
            <a:chOff x="4296000" y="1550474"/>
            <a:chExt cx="3600000" cy="3600000"/>
          </a:xfrm>
        </p:grpSpPr>
        <p:sp>
          <p:nvSpPr>
            <p:cNvPr id="83" name="Serbest Form: Şekil 82">
              <a:extLst>
                <a:ext uri="{FF2B5EF4-FFF2-40B4-BE49-F238E27FC236}">
                  <a16:creationId xmlns:a16="http://schemas.microsoft.com/office/drawing/2014/main" id="{395A6F1C-D6A7-4621-9395-AC144D327F6D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84" name="Serbest Form: Şekil 83">
              <a:extLst>
                <a:ext uri="{FF2B5EF4-FFF2-40B4-BE49-F238E27FC236}">
                  <a16:creationId xmlns:a16="http://schemas.microsoft.com/office/drawing/2014/main" id="{0A6760FE-444B-4434-A871-E9DDB74FED08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85" name="Grup 84">
              <a:extLst>
                <a:ext uri="{FF2B5EF4-FFF2-40B4-BE49-F238E27FC236}">
                  <a16:creationId xmlns:a16="http://schemas.microsoft.com/office/drawing/2014/main" id="{FB7F142A-58BA-423A-865F-BD362DF9021F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89" name="Daire: Boş 88">
                <a:extLst>
                  <a:ext uri="{FF2B5EF4-FFF2-40B4-BE49-F238E27FC236}">
                    <a16:creationId xmlns:a16="http://schemas.microsoft.com/office/drawing/2014/main" id="{5D884656-30FE-4DB4-A362-5F523F8D5851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F28832C3-842D-4EC1-9F31-4E1DAAEE30E2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86" name="Grup 85">
              <a:extLst>
                <a:ext uri="{FF2B5EF4-FFF2-40B4-BE49-F238E27FC236}">
                  <a16:creationId xmlns:a16="http://schemas.microsoft.com/office/drawing/2014/main" id="{BE18E26F-81DB-44A7-86D8-441A4DC3B700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87" name="Daire: Boş 86">
                <a:extLst>
                  <a:ext uri="{FF2B5EF4-FFF2-40B4-BE49-F238E27FC236}">
                    <a16:creationId xmlns:a16="http://schemas.microsoft.com/office/drawing/2014/main" id="{7E54B804-6D4F-4A4B-B71B-AFAE33115D71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C68F7977-BF45-4F0C-9267-B26A3BF2369F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103" name="Dikdörtgen: Yuvarlatılmış Köşeler 102">
            <a:extLst>
              <a:ext uri="{FF2B5EF4-FFF2-40B4-BE49-F238E27FC236}">
                <a16:creationId xmlns:a16="http://schemas.microsoft.com/office/drawing/2014/main" id="{5D0561CF-2E3E-4050-B0A9-C43FA74BA679}"/>
              </a:ext>
            </a:extLst>
          </p:cNvPr>
          <p:cNvSpPr/>
          <p:nvPr/>
        </p:nvSpPr>
        <p:spPr>
          <a:xfrm>
            <a:off x="6945159" y="3109014"/>
            <a:ext cx="4307098" cy="900000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tr-TR" sz="1400" dirty="0"/>
          </a:p>
          <a:p>
            <a:r>
              <a:rPr lang="tr-TR" sz="1400" b="1" u="sng" dirty="0"/>
              <a:t>Eylem Çıktısı</a:t>
            </a:r>
          </a:p>
          <a:p>
            <a:r>
              <a:rPr lang="tr-TR" sz="1400" dirty="0"/>
              <a:t>İl Sağlık Müdürlükleri Çalışan Memnuniyet Araştırması Sonuç Raporu </a:t>
            </a:r>
          </a:p>
        </p:txBody>
      </p:sp>
      <p:grpSp>
        <p:nvGrpSpPr>
          <p:cNvPr id="104" name="Grup 103">
            <a:extLst>
              <a:ext uri="{FF2B5EF4-FFF2-40B4-BE49-F238E27FC236}">
                <a16:creationId xmlns:a16="http://schemas.microsoft.com/office/drawing/2014/main" id="{A89CAB9A-85FE-40AA-B0B1-3C8F1023DC0B}"/>
              </a:ext>
            </a:extLst>
          </p:cNvPr>
          <p:cNvGrpSpPr/>
          <p:nvPr/>
        </p:nvGrpSpPr>
        <p:grpSpPr>
          <a:xfrm>
            <a:off x="5714709" y="3142872"/>
            <a:ext cx="900000" cy="900000"/>
            <a:chOff x="4296000" y="1550474"/>
            <a:chExt cx="3600000" cy="3600000"/>
          </a:xfrm>
        </p:grpSpPr>
        <p:sp>
          <p:nvSpPr>
            <p:cNvPr id="105" name="Serbest Form: Şekil 104">
              <a:extLst>
                <a:ext uri="{FF2B5EF4-FFF2-40B4-BE49-F238E27FC236}">
                  <a16:creationId xmlns:a16="http://schemas.microsoft.com/office/drawing/2014/main" id="{81A25E06-6387-44F8-AED3-0228B9AFC434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06" name="Serbest Form: Şekil 105">
              <a:extLst>
                <a:ext uri="{FF2B5EF4-FFF2-40B4-BE49-F238E27FC236}">
                  <a16:creationId xmlns:a16="http://schemas.microsoft.com/office/drawing/2014/main" id="{14D87604-B975-48B5-9084-77AFB4E92FB1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107" name="Grup 106">
              <a:extLst>
                <a:ext uri="{FF2B5EF4-FFF2-40B4-BE49-F238E27FC236}">
                  <a16:creationId xmlns:a16="http://schemas.microsoft.com/office/drawing/2014/main" id="{8EB6BFBE-7177-4C59-A12C-9BA065ABD5A1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11" name="Daire: Boş 110">
                <a:extLst>
                  <a:ext uri="{FF2B5EF4-FFF2-40B4-BE49-F238E27FC236}">
                    <a16:creationId xmlns:a16="http://schemas.microsoft.com/office/drawing/2014/main" id="{FE934A15-3EB3-439D-B288-B277DEFA0007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76742F95-86A3-4B12-A6B7-EF0ED5DBF504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108" name="Grup 107">
              <a:extLst>
                <a:ext uri="{FF2B5EF4-FFF2-40B4-BE49-F238E27FC236}">
                  <a16:creationId xmlns:a16="http://schemas.microsoft.com/office/drawing/2014/main" id="{DFC97837-C76D-4A16-8543-EF1299A41A80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109" name="Daire: Boş 108">
                <a:extLst>
                  <a:ext uri="{FF2B5EF4-FFF2-40B4-BE49-F238E27FC236}">
                    <a16:creationId xmlns:a16="http://schemas.microsoft.com/office/drawing/2014/main" id="{2E59340C-B956-4626-A60B-A512D70779EF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10" name="Oval 109">
                <a:extLst>
                  <a:ext uri="{FF2B5EF4-FFF2-40B4-BE49-F238E27FC236}">
                    <a16:creationId xmlns:a16="http://schemas.microsoft.com/office/drawing/2014/main" id="{6C178951-E662-46A1-BC38-9961DB5EEA35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80" name="Dikdörtgen: Yuvarlatılmış Köşeler 79">
            <a:extLst>
              <a:ext uri="{FF2B5EF4-FFF2-40B4-BE49-F238E27FC236}">
                <a16:creationId xmlns:a16="http://schemas.microsoft.com/office/drawing/2014/main" id="{389E2BF1-1EED-407E-ACDE-8CB22944EAA4}"/>
              </a:ext>
            </a:extLst>
          </p:cNvPr>
          <p:cNvSpPr/>
          <p:nvPr/>
        </p:nvSpPr>
        <p:spPr>
          <a:xfrm>
            <a:off x="6935925" y="813022"/>
            <a:ext cx="4307098" cy="959536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Eylem: (E.13.7.2)</a:t>
            </a:r>
          </a:p>
          <a:p>
            <a:r>
              <a:rPr lang="tr-TR" sz="1400" dirty="0"/>
              <a:t>81 İl Sağlık Müdürlüğü çalışanlarına yönelik memnuniyet araştırması yapılması, sonuçların değerlendirilerek raporlanması </a:t>
            </a:r>
          </a:p>
        </p:txBody>
      </p:sp>
      <p:grpSp>
        <p:nvGrpSpPr>
          <p:cNvPr id="91" name="Grup 90">
            <a:extLst>
              <a:ext uri="{FF2B5EF4-FFF2-40B4-BE49-F238E27FC236}">
                <a16:creationId xmlns:a16="http://schemas.microsoft.com/office/drawing/2014/main" id="{054623DF-F64E-40C3-B09F-CED0620DBCA4}"/>
              </a:ext>
            </a:extLst>
          </p:cNvPr>
          <p:cNvGrpSpPr/>
          <p:nvPr/>
        </p:nvGrpSpPr>
        <p:grpSpPr>
          <a:xfrm>
            <a:off x="5720725" y="772344"/>
            <a:ext cx="900000" cy="900000"/>
            <a:chOff x="4296000" y="1550474"/>
            <a:chExt cx="3600000" cy="3600000"/>
          </a:xfrm>
        </p:grpSpPr>
        <p:sp>
          <p:nvSpPr>
            <p:cNvPr id="92" name="Serbest Form: Şekil 91">
              <a:extLst>
                <a:ext uri="{FF2B5EF4-FFF2-40B4-BE49-F238E27FC236}">
                  <a16:creationId xmlns:a16="http://schemas.microsoft.com/office/drawing/2014/main" id="{F4FA1EC6-4748-43AC-A77E-5F26FA227D5D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93" name="Serbest Form: Şekil 92">
              <a:extLst>
                <a:ext uri="{FF2B5EF4-FFF2-40B4-BE49-F238E27FC236}">
                  <a16:creationId xmlns:a16="http://schemas.microsoft.com/office/drawing/2014/main" id="{0E7826A7-8814-4097-9425-6D9C42B133EA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94" name="Grup 93">
              <a:extLst>
                <a:ext uri="{FF2B5EF4-FFF2-40B4-BE49-F238E27FC236}">
                  <a16:creationId xmlns:a16="http://schemas.microsoft.com/office/drawing/2014/main" id="{B33FBE24-78E6-401B-8055-194689AD4413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100" name="Daire: Boş 99">
                <a:extLst>
                  <a:ext uri="{FF2B5EF4-FFF2-40B4-BE49-F238E27FC236}">
                    <a16:creationId xmlns:a16="http://schemas.microsoft.com/office/drawing/2014/main" id="{C0D86613-7DDE-47BD-AB39-EB5F4FBF569C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755D39B1-1755-4706-8387-68A83F560C76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95" name="Grup 94">
              <a:extLst>
                <a:ext uri="{FF2B5EF4-FFF2-40B4-BE49-F238E27FC236}">
                  <a16:creationId xmlns:a16="http://schemas.microsoft.com/office/drawing/2014/main" id="{5B8B34FA-BD24-43A9-A5D2-70CCE4A2184F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96" name="Daire: Boş 95">
                <a:extLst>
                  <a:ext uri="{FF2B5EF4-FFF2-40B4-BE49-F238E27FC236}">
                    <a16:creationId xmlns:a16="http://schemas.microsoft.com/office/drawing/2014/main" id="{C859AC12-3066-406F-8912-359FB27D35E6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6863DE18-7786-4755-B10A-D5FE386E0467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grpSp>
        <p:nvGrpSpPr>
          <p:cNvPr id="61" name="Grup 60">
            <a:extLst>
              <a:ext uri="{FF2B5EF4-FFF2-40B4-BE49-F238E27FC236}">
                <a16:creationId xmlns:a16="http://schemas.microsoft.com/office/drawing/2014/main" id="{B949847B-FFF0-4E57-B18B-D1269D778319}"/>
              </a:ext>
            </a:extLst>
          </p:cNvPr>
          <p:cNvGrpSpPr/>
          <p:nvPr/>
        </p:nvGrpSpPr>
        <p:grpSpPr>
          <a:xfrm>
            <a:off x="5705475" y="4146671"/>
            <a:ext cx="900000" cy="900000"/>
            <a:chOff x="4296000" y="1550474"/>
            <a:chExt cx="3600000" cy="3600000"/>
          </a:xfrm>
        </p:grpSpPr>
        <p:sp>
          <p:nvSpPr>
            <p:cNvPr id="71" name="Serbest Form: Şekil 70">
              <a:extLst>
                <a:ext uri="{FF2B5EF4-FFF2-40B4-BE49-F238E27FC236}">
                  <a16:creationId xmlns:a16="http://schemas.microsoft.com/office/drawing/2014/main" id="{C73D2DD0-723F-48B9-99D1-B6300E237DAE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2" name="Serbest Form: Şekil 71">
              <a:extLst>
                <a:ext uri="{FF2B5EF4-FFF2-40B4-BE49-F238E27FC236}">
                  <a16:creationId xmlns:a16="http://schemas.microsoft.com/office/drawing/2014/main" id="{CDABCC06-CB15-472C-A29F-A489AF7E8C8F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73" name="Grup 72">
              <a:extLst>
                <a:ext uri="{FF2B5EF4-FFF2-40B4-BE49-F238E27FC236}">
                  <a16:creationId xmlns:a16="http://schemas.microsoft.com/office/drawing/2014/main" id="{922A9D4D-D696-4D9F-8913-ED80913100C4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77" name="Daire: Boş 76">
                <a:extLst>
                  <a:ext uri="{FF2B5EF4-FFF2-40B4-BE49-F238E27FC236}">
                    <a16:creationId xmlns:a16="http://schemas.microsoft.com/office/drawing/2014/main" id="{F53F1213-1041-40AC-AEF1-F08C328B9590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A41B6AB9-C0A9-4821-8A01-B30641030F69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74" name="Grup 73">
              <a:extLst>
                <a:ext uri="{FF2B5EF4-FFF2-40B4-BE49-F238E27FC236}">
                  <a16:creationId xmlns:a16="http://schemas.microsoft.com/office/drawing/2014/main" id="{BF93ACDD-0A29-4D30-BA00-BDF2A46032D0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75" name="Daire: Boş 74">
                <a:extLst>
                  <a:ext uri="{FF2B5EF4-FFF2-40B4-BE49-F238E27FC236}">
                    <a16:creationId xmlns:a16="http://schemas.microsoft.com/office/drawing/2014/main" id="{F7DE57D5-A03C-4EB1-A091-760077E8D363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B300F038-0291-4B92-A385-5BF503DABF07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79" name="Dikdörtgen: Yuvarlatılmış Köşeler 78">
            <a:extLst>
              <a:ext uri="{FF2B5EF4-FFF2-40B4-BE49-F238E27FC236}">
                <a16:creationId xmlns:a16="http://schemas.microsoft.com/office/drawing/2014/main" id="{2DADBCCB-6C13-4D91-9A21-B9B6AF493904}"/>
              </a:ext>
            </a:extLst>
          </p:cNvPr>
          <p:cNvSpPr/>
          <p:nvPr/>
        </p:nvSpPr>
        <p:spPr>
          <a:xfrm>
            <a:off x="6935925" y="4128561"/>
            <a:ext cx="4307098" cy="918110"/>
          </a:xfrm>
          <a:prstGeom prst="roundRect">
            <a:avLst/>
          </a:prstGeom>
          <a:ln w="19050">
            <a:solidFill>
              <a:schemeClr val="bg1"/>
            </a:solidFill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/>
              <a:t>Eylem Dönemi</a:t>
            </a:r>
          </a:p>
          <a:p>
            <a:r>
              <a:rPr lang="tr-TR" sz="1400" dirty="0"/>
              <a:t>2. Çeyrek Dönem 2024</a:t>
            </a:r>
          </a:p>
        </p:txBody>
      </p:sp>
      <p:sp>
        <p:nvSpPr>
          <p:cNvPr id="113" name="Konuşma Balonu: Oval 112">
            <a:extLst>
              <a:ext uri="{FF2B5EF4-FFF2-40B4-BE49-F238E27FC236}">
                <a16:creationId xmlns:a16="http://schemas.microsoft.com/office/drawing/2014/main" id="{85384B4A-2094-4915-A73A-220FFFAEB59E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027681499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7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8" dur="3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30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2" dur="3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3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3000" fill="hold"/>
                                        <p:tgtEl>
                                          <p:spTgt spid="10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" grpId="0" animBg="1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8171561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grpSp>
        <p:nvGrpSpPr>
          <p:cNvPr id="246" name="Grup 245">
            <a:extLst>
              <a:ext uri="{FF2B5EF4-FFF2-40B4-BE49-F238E27FC236}">
                <a16:creationId xmlns:a16="http://schemas.microsoft.com/office/drawing/2014/main" id="{15A42B05-E56E-41D9-BDD9-0E043C7B5D8A}"/>
              </a:ext>
            </a:extLst>
          </p:cNvPr>
          <p:cNvGrpSpPr/>
          <p:nvPr/>
        </p:nvGrpSpPr>
        <p:grpSpPr>
          <a:xfrm>
            <a:off x="4296000" y="1121000"/>
            <a:ext cx="3600000" cy="3600000"/>
            <a:chOff x="4296000" y="1548914"/>
            <a:chExt cx="3600000" cy="3600000"/>
          </a:xfrm>
        </p:grpSpPr>
        <p:sp>
          <p:nvSpPr>
            <p:cNvPr id="247" name="Serbest Form: Şekil 246">
              <a:extLst>
                <a:ext uri="{FF2B5EF4-FFF2-40B4-BE49-F238E27FC236}">
                  <a16:creationId xmlns:a16="http://schemas.microsoft.com/office/drawing/2014/main" id="{10829CBE-A512-4E25-AB6B-966152D646B5}"/>
                </a:ext>
              </a:extLst>
            </p:cNvPr>
            <p:cNvSpPr/>
            <p:nvPr/>
          </p:nvSpPr>
          <p:spPr>
            <a:xfrm>
              <a:off x="4296000" y="154891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248" name="Serbest Form: Şekil 247">
              <a:extLst>
                <a:ext uri="{FF2B5EF4-FFF2-40B4-BE49-F238E27FC236}">
                  <a16:creationId xmlns:a16="http://schemas.microsoft.com/office/drawing/2014/main" id="{A50393F4-9D84-4D7C-911A-BB3A7A05AB4A}"/>
                </a:ext>
              </a:extLst>
            </p:cNvPr>
            <p:cNvSpPr/>
            <p:nvPr/>
          </p:nvSpPr>
          <p:spPr>
            <a:xfrm>
              <a:off x="4296000" y="334891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grpSp>
          <p:nvGrpSpPr>
            <p:cNvPr id="249" name="Grup 248">
              <a:extLst>
                <a:ext uri="{FF2B5EF4-FFF2-40B4-BE49-F238E27FC236}">
                  <a16:creationId xmlns:a16="http://schemas.microsoft.com/office/drawing/2014/main" id="{6418A883-3F47-487E-93F2-4D97AE99473D}"/>
                </a:ext>
              </a:extLst>
            </p:cNvPr>
            <p:cNvGrpSpPr/>
            <p:nvPr/>
          </p:nvGrpSpPr>
          <p:grpSpPr>
            <a:xfrm>
              <a:off x="4296000" y="2448914"/>
              <a:ext cx="1800000" cy="1800000"/>
              <a:chOff x="4296000" y="2117236"/>
              <a:chExt cx="1800000" cy="1800000"/>
            </a:xfrm>
          </p:grpSpPr>
          <p:sp>
            <p:nvSpPr>
              <p:cNvPr id="253" name="Daire: Boş 252">
                <a:extLst>
                  <a:ext uri="{FF2B5EF4-FFF2-40B4-BE49-F238E27FC236}">
                    <a16:creationId xmlns:a16="http://schemas.microsoft.com/office/drawing/2014/main" id="{D3368E9F-F48E-49AD-995F-767A60565619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54" name="Oval 253">
                <a:extLst>
                  <a:ext uri="{FF2B5EF4-FFF2-40B4-BE49-F238E27FC236}">
                    <a16:creationId xmlns:a16="http://schemas.microsoft.com/office/drawing/2014/main" id="{1C2CCEF7-953C-4E9C-978E-498E705B23D0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250" name="Grup 249">
              <a:extLst>
                <a:ext uri="{FF2B5EF4-FFF2-40B4-BE49-F238E27FC236}">
                  <a16:creationId xmlns:a16="http://schemas.microsoft.com/office/drawing/2014/main" id="{73C6F84F-3EBC-4722-8C97-A0E30E9B5328}"/>
                </a:ext>
              </a:extLst>
            </p:cNvPr>
            <p:cNvGrpSpPr/>
            <p:nvPr/>
          </p:nvGrpSpPr>
          <p:grpSpPr>
            <a:xfrm>
              <a:off x="6096000" y="2396988"/>
              <a:ext cx="1800000" cy="1800000"/>
              <a:chOff x="1534499" y="2640201"/>
              <a:chExt cx="1800000" cy="1800000"/>
            </a:xfrm>
          </p:grpSpPr>
          <p:sp>
            <p:nvSpPr>
              <p:cNvPr id="251" name="Daire: Boş 250">
                <a:extLst>
                  <a:ext uri="{FF2B5EF4-FFF2-40B4-BE49-F238E27FC236}">
                    <a16:creationId xmlns:a16="http://schemas.microsoft.com/office/drawing/2014/main" id="{3E9E3AA5-DB8E-410B-8636-E6BF0C45F6DA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52" name="Oval 251">
                <a:extLst>
                  <a:ext uri="{FF2B5EF4-FFF2-40B4-BE49-F238E27FC236}">
                    <a16:creationId xmlns:a16="http://schemas.microsoft.com/office/drawing/2014/main" id="{258F19ED-F88B-46BF-80F6-D4BCB50EF037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255" name="Oval 254">
            <a:extLst>
              <a:ext uri="{FF2B5EF4-FFF2-40B4-BE49-F238E27FC236}">
                <a16:creationId xmlns:a16="http://schemas.microsoft.com/office/drawing/2014/main" id="{31AA68D3-49FB-4FFF-9D23-8969D1EE42D9}"/>
              </a:ext>
            </a:extLst>
          </p:cNvPr>
          <p:cNvSpPr/>
          <p:nvPr/>
        </p:nvSpPr>
        <p:spPr>
          <a:xfrm>
            <a:off x="4279222" y="965200"/>
            <a:ext cx="3725334" cy="3911600"/>
          </a:xfrm>
          <a:prstGeom prst="ellipse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alpha val="0"/>
                  <a:lumMod val="100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grpSp>
        <p:nvGrpSpPr>
          <p:cNvPr id="256" name="Grup 255">
            <a:extLst>
              <a:ext uri="{FF2B5EF4-FFF2-40B4-BE49-F238E27FC236}">
                <a16:creationId xmlns:a16="http://schemas.microsoft.com/office/drawing/2014/main" id="{38C52791-724E-44D5-B5D8-1264E56DC5D2}"/>
              </a:ext>
            </a:extLst>
          </p:cNvPr>
          <p:cNvGrpSpPr/>
          <p:nvPr/>
        </p:nvGrpSpPr>
        <p:grpSpPr>
          <a:xfrm>
            <a:off x="4296000" y="1164851"/>
            <a:ext cx="3600000" cy="3600000"/>
            <a:chOff x="4296000" y="1550474"/>
            <a:chExt cx="3600000" cy="3600000"/>
          </a:xfrm>
        </p:grpSpPr>
        <p:sp>
          <p:nvSpPr>
            <p:cNvPr id="257" name="Serbest Form: Şekil 256">
              <a:extLst>
                <a:ext uri="{FF2B5EF4-FFF2-40B4-BE49-F238E27FC236}">
                  <a16:creationId xmlns:a16="http://schemas.microsoft.com/office/drawing/2014/main" id="{E542F3DF-7B7F-40DA-B3F9-23D3FCC10B63}"/>
                </a:ext>
              </a:extLst>
            </p:cNvPr>
            <p:cNvSpPr/>
            <p:nvPr/>
          </p:nvSpPr>
          <p:spPr>
            <a:xfrm>
              <a:off x="4296000" y="1550474"/>
              <a:ext cx="3600000" cy="1800000"/>
            </a:xfrm>
            <a:custGeom>
              <a:avLst/>
              <a:gdLst>
                <a:gd name="connsiteX0" fmla="*/ 1800000 w 3600000"/>
                <a:gd name="connsiteY0" fmla="*/ 0 h 1800000"/>
                <a:gd name="connsiteX1" fmla="*/ 3600000 w 3600000"/>
                <a:gd name="connsiteY1" fmla="*/ 1800000 h 1800000"/>
                <a:gd name="connsiteX2" fmla="*/ 0 w 3600000"/>
                <a:gd name="connsiteY2" fmla="*/ 1800000 h 1800000"/>
                <a:gd name="connsiteX3" fmla="*/ 180000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1800000" y="0"/>
                  </a:moveTo>
                  <a:cubicBezTo>
                    <a:pt x="2794113" y="0"/>
                    <a:pt x="3600000" y="805887"/>
                    <a:pt x="3600000" y="1800000"/>
                  </a:cubicBezTo>
                  <a:lnTo>
                    <a:pt x="0" y="1800000"/>
                  </a:lnTo>
                  <a:cubicBezTo>
                    <a:pt x="0" y="805887"/>
                    <a:pt x="805887" y="0"/>
                    <a:pt x="1800000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258" name="Serbest Form: Şekil 257">
              <a:extLst>
                <a:ext uri="{FF2B5EF4-FFF2-40B4-BE49-F238E27FC236}">
                  <a16:creationId xmlns:a16="http://schemas.microsoft.com/office/drawing/2014/main" id="{5F107629-3A51-42B8-8FEF-52A7069B33F3}"/>
                </a:ext>
              </a:extLst>
            </p:cNvPr>
            <p:cNvSpPr/>
            <p:nvPr/>
          </p:nvSpPr>
          <p:spPr>
            <a:xfrm>
              <a:off x="4296000" y="3350474"/>
              <a:ext cx="3600000" cy="1800000"/>
            </a:xfrm>
            <a:custGeom>
              <a:avLst/>
              <a:gdLst>
                <a:gd name="connsiteX0" fmla="*/ 0 w 3600000"/>
                <a:gd name="connsiteY0" fmla="*/ 0 h 1800000"/>
                <a:gd name="connsiteX1" fmla="*/ 3600000 w 3600000"/>
                <a:gd name="connsiteY1" fmla="*/ 0 h 1800000"/>
                <a:gd name="connsiteX2" fmla="*/ 1800000 w 3600000"/>
                <a:gd name="connsiteY2" fmla="*/ 1800000 h 1800000"/>
                <a:gd name="connsiteX3" fmla="*/ 0 w 3600000"/>
                <a:gd name="connsiteY3" fmla="*/ 0 h 180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00000" h="1800000">
                  <a:moveTo>
                    <a:pt x="0" y="0"/>
                  </a:moveTo>
                  <a:lnTo>
                    <a:pt x="3600000" y="0"/>
                  </a:lnTo>
                  <a:cubicBezTo>
                    <a:pt x="3600000" y="994113"/>
                    <a:pt x="2794113" y="1800000"/>
                    <a:pt x="1800000" y="1800000"/>
                  </a:cubicBezTo>
                  <a:cubicBezTo>
                    <a:pt x="805887" y="1800000"/>
                    <a:pt x="0" y="994113"/>
                    <a:pt x="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 dirty="0"/>
            </a:p>
          </p:txBody>
        </p:sp>
        <p:grpSp>
          <p:nvGrpSpPr>
            <p:cNvPr id="259" name="Grup 258">
              <a:extLst>
                <a:ext uri="{FF2B5EF4-FFF2-40B4-BE49-F238E27FC236}">
                  <a16:creationId xmlns:a16="http://schemas.microsoft.com/office/drawing/2014/main" id="{7340329D-0AE9-42AC-B9FB-DEBC362F9879}"/>
                </a:ext>
              </a:extLst>
            </p:cNvPr>
            <p:cNvGrpSpPr/>
            <p:nvPr/>
          </p:nvGrpSpPr>
          <p:grpSpPr>
            <a:xfrm>
              <a:off x="4296000" y="2450474"/>
              <a:ext cx="1800000" cy="1800000"/>
              <a:chOff x="4296000" y="2117236"/>
              <a:chExt cx="1800000" cy="1800000"/>
            </a:xfrm>
          </p:grpSpPr>
          <p:sp>
            <p:nvSpPr>
              <p:cNvPr id="263" name="Daire: Boş 262">
                <a:extLst>
                  <a:ext uri="{FF2B5EF4-FFF2-40B4-BE49-F238E27FC236}">
                    <a16:creationId xmlns:a16="http://schemas.microsoft.com/office/drawing/2014/main" id="{3683E3F3-4CF2-4069-B572-561023E4864E}"/>
                  </a:ext>
                </a:extLst>
              </p:cNvPr>
              <p:cNvSpPr/>
              <p:nvPr/>
            </p:nvSpPr>
            <p:spPr>
              <a:xfrm>
                <a:off x="4296000" y="2117236"/>
                <a:ext cx="1800000" cy="1800000"/>
              </a:xfrm>
              <a:prstGeom prst="donu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64" name="Oval 263">
                <a:extLst>
                  <a:ext uri="{FF2B5EF4-FFF2-40B4-BE49-F238E27FC236}">
                    <a16:creationId xmlns:a16="http://schemas.microsoft.com/office/drawing/2014/main" id="{12ACBCCC-F598-41AE-9A0E-0D183B5DBCA5}"/>
                  </a:ext>
                </a:extLst>
              </p:cNvPr>
              <p:cNvSpPr/>
              <p:nvPr/>
            </p:nvSpPr>
            <p:spPr>
              <a:xfrm>
                <a:off x="4746000" y="2515310"/>
                <a:ext cx="900000" cy="900000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grpSp>
          <p:nvGrpSpPr>
            <p:cNvPr id="260" name="Grup 259">
              <a:extLst>
                <a:ext uri="{FF2B5EF4-FFF2-40B4-BE49-F238E27FC236}">
                  <a16:creationId xmlns:a16="http://schemas.microsoft.com/office/drawing/2014/main" id="{833DFD0A-709E-4994-8180-3C7A25DEACF2}"/>
                </a:ext>
              </a:extLst>
            </p:cNvPr>
            <p:cNvGrpSpPr/>
            <p:nvPr/>
          </p:nvGrpSpPr>
          <p:grpSpPr>
            <a:xfrm>
              <a:off x="6096000" y="2398548"/>
              <a:ext cx="1800000" cy="1800000"/>
              <a:chOff x="1534499" y="2640201"/>
              <a:chExt cx="1800000" cy="1800000"/>
            </a:xfrm>
          </p:grpSpPr>
          <p:sp>
            <p:nvSpPr>
              <p:cNvPr id="261" name="Daire: Boş 260">
                <a:extLst>
                  <a:ext uri="{FF2B5EF4-FFF2-40B4-BE49-F238E27FC236}">
                    <a16:creationId xmlns:a16="http://schemas.microsoft.com/office/drawing/2014/main" id="{BF0D534F-EC45-4557-BDEB-B8B8D531107C}"/>
                  </a:ext>
                </a:extLst>
              </p:cNvPr>
              <p:cNvSpPr/>
              <p:nvPr/>
            </p:nvSpPr>
            <p:spPr>
              <a:xfrm>
                <a:off x="1534499" y="2640201"/>
                <a:ext cx="1800000" cy="1800000"/>
              </a:xfrm>
              <a:prstGeom prst="donu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>
                  <a:solidFill>
                    <a:schemeClr val="tx1"/>
                  </a:solidFill>
                </a:endParaRPr>
              </a:p>
            </p:txBody>
          </p:sp>
          <p:sp>
            <p:nvSpPr>
              <p:cNvPr id="262" name="Oval 261">
                <a:extLst>
                  <a:ext uri="{FF2B5EF4-FFF2-40B4-BE49-F238E27FC236}">
                    <a16:creationId xmlns:a16="http://schemas.microsoft.com/office/drawing/2014/main" id="{42434E84-3A07-4839-A77F-E23D424855A0}"/>
                  </a:ext>
                </a:extLst>
              </p:cNvPr>
              <p:cNvSpPr/>
              <p:nvPr/>
            </p:nvSpPr>
            <p:spPr>
              <a:xfrm>
                <a:off x="1984499" y="3166387"/>
                <a:ext cx="900000" cy="90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</p:grpSp>
      <p:sp>
        <p:nvSpPr>
          <p:cNvPr id="41" name="Konuşma Balonu: Oval 40">
            <a:extLst>
              <a:ext uri="{FF2B5EF4-FFF2-40B4-BE49-F238E27FC236}">
                <a16:creationId xmlns:a16="http://schemas.microsoft.com/office/drawing/2014/main" id="{A9954CB3-5DFF-4970-B54D-FA8ACE2D08E1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143497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3000" fill="hold"/>
                                        <p:tgtEl>
                                          <p:spTgt spid="25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25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5" grpId="0" animBg="1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9748109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40" name="Konuşma Balonu: Oval 39">
            <a:extLst>
              <a:ext uri="{FF2B5EF4-FFF2-40B4-BE49-F238E27FC236}">
                <a16:creationId xmlns:a16="http://schemas.microsoft.com/office/drawing/2014/main" id="{42031D39-4A09-44CD-AA84-9F920267C97C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  <p:sp>
        <p:nvSpPr>
          <p:cNvPr id="2" name="Dikdörtgen 1">
            <a:extLst>
              <a:ext uri="{FF2B5EF4-FFF2-40B4-BE49-F238E27FC236}">
                <a16:creationId xmlns:a16="http://schemas.microsoft.com/office/drawing/2014/main" id="{1BF3D90C-9066-4A94-98B8-5CE5C784B025}"/>
              </a:ext>
            </a:extLst>
          </p:cNvPr>
          <p:cNvSpPr/>
          <p:nvPr/>
        </p:nvSpPr>
        <p:spPr>
          <a:xfrm>
            <a:off x="303878" y="900702"/>
            <a:ext cx="4617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Standart: BİS (15)</a:t>
            </a:r>
          </a:p>
          <a:p>
            <a:r>
              <a:rPr lang="tr-TR" sz="1400" dirty="0"/>
              <a:t>Kayıt ve Dosyalama Sistemi: İdareler, gelen ve giden her türlü evrak dahil iş ve işlemlerin kaydedildiği, sınıflandırıldığı ve dosyalandığı kapsamlı ve güncel bir sisteme sahip o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C231CF5-02E8-4744-B7D5-2C778AF87DFF}"/>
              </a:ext>
            </a:extLst>
          </p:cNvPr>
          <p:cNvSpPr/>
          <p:nvPr/>
        </p:nvSpPr>
        <p:spPr>
          <a:xfrm>
            <a:off x="-4800348" y="1631369"/>
            <a:ext cx="4617236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Genel Şart: BİS (15.3)</a:t>
            </a:r>
          </a:p>
          <a:p>
            <a:r>
              <a:rPr lang="tr-TR" sz="1400" dirty="0"/>
              <a:t>Kayıt ve dosyalama sistemi, kişisel verilerin güvenliğini ve korunmasını sağlamalıdır.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076859F-8B47-4964-BF93-D460F28939E7}"/>
              </a:ext>
            </a:extLst>
          </p:cNvPr>
          <p:cNvSpPr/>
          <p:nvPr/>
        </p:nvSpPr>
        <p:spPr>
          <a:xfrm>
            <a:off x="-4800348" y="2382979"/>
            <a:ext cx="4617236" cy="954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Eylem: (E.15.3.2)</a:t>
            </a:r>
          </a:p>
          <a:p>
            <a:r>
              <a:rPr lang="tr-TR" sz="14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6735ADF6-7A30-4FE9-A5A4-B15912ED73A1}"/>
              </a:ext>
            </a:extLst>
          </p:cNvPr>
          <p:cNvSpPr/>
          <p:nvPr/>
        </p:nvSpPr>
        <p:spPr>
          <a:xfrm>
            <a:off x="-4800349" y="4405600"/>
            <a:ext cx="1837041" cy="5232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C5C5DCEB-F12C-47CF-A3D8-F5D9F026320F}"/>
              </a:ext>
            </a:extLst>
          </p:cNvPr>
          <p:cNvSpPr/>
          <p:nvPr/>
        </p:nvSpPr>
        <p:spPr>
          <a:xfrm>
            <a:off x="-4800349" y="3880272"/>
            <a:ext cx="2280624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aşra Teşkilatı Sistem Raporu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CEC44FF4-725E-4A1D-B526-9C245B306D46}"/>
              </a:ext>
            </a:extLst>
          </p:cNvPr>
          <p:cNvSpPr/>
          <p:nvPr/>
        </p:nvSpPr>
        <p:spPr>
          <a:xfrm>
            <a:off x="-4800349" y="3347069"/>
            <a:ext cx="3035703" cy="5232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Sağlık Bilgi Sistemleri Genel Müdürlüğü</a:t>
            </a:r>
          </a:p>
        </p:txBody>
      </p:sp>
    </p:spTree>
    <p:extLst>
      <p:ext uri="{BB962C8B-B14F-4D97-AF65-F5344CB8AC3E}">
        <p14:creationId xmlns:p14="http://schemas.microsoft.com/office/powerpoint/2010/main" val="293807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9748109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" name="Dikdörtgen 1">
            <a:extLst>
              <a:ext uri="{FF2B5EF4-FFF2-40B4-BE49-F238E27FC236}">
                <a16:creationId xmlns:a16="http://schemas.microsoft.com/office/drawing/2014/main" id="{1BF3D90C-9066-4A94-98B8-5CE5C784B025}"/>
              </a:ext>
            </a:extLst>
          </p:cNvPr>
          <p:cNvSpPr/>
          <p:nvPr/>
        </p:nvSpPr>
        <p:spPr>
          <a:xfrm>
            <a:off x="303878" y="900702"/>
            <a:ext cx="4617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Standart: BİS (15)</a:t>
            </a:r>
          </a:p>
          <a:p>
            <a:r>
              <a:rPr lang="tr-TR" sz="1400" dirty="0"/>
              <a:t>Kayıt ve Dosyalama Sistemi: İdareler, gelen ve giden her türlü evrak dahil iş ve işlemlerin kaydedildiği, sınıflandırıldığı ve dosyalandığı kapsamlı ve güncel bir sisteme sahip o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C231CF5-02E8-4744-B7D5-2C778AF87DFF}"/>
              </a:ext>
            </a:extLst>
          </p:cNvPr>
          <p:cNvSpPr/>
          <p:nvPr/>
        </p:nvSpPr>
        <p:spPr>
          <a:xfrm>
            <a:off x="2506307" y="1859873"/>
            <a:ext cx="4617236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Genel Şart: BİS (15.3)</a:t>
            </a:r>
          </a:p>
          <a:p>
            <a:r>
              <a:rPr lang="tr-TR" sz="1400" dirty="0"/>
              <a:t>Kayıt ve dosyalama sistemi, kişisel verilerin güvenliğini ve korunmasını sağlamalıdır.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076859F-8B47-4964-BF93-D460F28939E7}"/>
              </a:ext>
            </a:extLst>
          </p:cNvPr>
          <p:cNvSpPr/>
          <p:nvPr/>
        </p:nvSpPr>
        <p:spPr>
          <a:xfrm>
            <a:off x="-4800348" y="2382979"/>
            <a:ext cx="4617236" cy="954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Eylem: (E.15.3.2)</a:t>
            </a:r>
          </a:p>
          <a:p>
            <a:r>
              <a:rPr lang="tr-TR" sz="14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6735ADF6-7A30-4FE9-A5A4-B15912ED73A1}"/>
              </a:ext>
            </a:extLst>
          </p:cNvPr>
          <p:cNvSpPr/>
          <p:nvPr/>
        </p:nvSpPr>
        <p:spPr>
          <a:xfrm>
            <a:off x="-4800349" y="4405600"/>
            <a:ext cx="1837041" cy="5232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C5C5DCEB-F12C-47CF-A3D8-F5D9F026320F}"/>
              </a:ext>
            </a:extLst>
          </p:cNvPr>
          <p:cNvSpPr/>
          <p:nvPr/>
        </p:nvSpPr>
        <p:spPr>
          <a:xfrm>
            <a:off x="-4800349" y="3880272"/>
            <a:ext cx="2280624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aşra Teşkilatı Sistem Raporu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CEC44FF4-725E-4A1D-B526-9C245B306D46}"/>
              </a:ext>
            </a:extLst>
          </p:cNvPr>
          <p:cNvSpPr/>
          <p:nvPr/>
        </p:nvSpPr>
        <p:spPr>
          <a:xfrm>
            <a:off x="-4800349" y="3347069"/>
            <a:ext cx="3035703" cy="5232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Sağlık Bilgi Sistemleri Genel Müdürlüğü</a:t>
            </a:r>
          </a:p>
        </p:txBody>
      </p:sp>
      <p:sp>
        <p:nvSpPr>
          <p:cNvPr id="29" name="Konuşma Balonu: Oval 28">
            <a:extLst>
              <a:ext uri="{FF2B5EF4-FFF2-40B4-BE49-F238E27FC236}">
                <a16:creationId xmlns:a16="http://schemas.microsoft.com/office/drawing/2014/main" id="{2B056096-F201-4B8A-994D-483983770306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51265298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9748109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" name="Dikdörtgen 1">
            <a:extLst>
              <a:ext uri="{FF2B5EF4-FFF2-40B4-BE49-F238E27FC236}">
                <a16:creationId xmlns:a16="http://schemas.microsoft.com/office/drawing/2014/main" id="{1BF3D90C-9066-4A94-98B8-5CE5C784B025}"/>
              </a:ext>
            </a:extLst>
          </p:cNvPr>
          <p:cNvSpPr/>
          <p:nvPr/>
        </p:nvSpPr>
        <p:spPr>
          <a:xfrm>
            <a:off x="303878" y="900702"/>
            <a:ext cx="4617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Standart: BİS (15)</a:t>
            </a:r>
          </a:p>
          <a:p>
            <a:r>
              <a:rPr lang="tr-TR" sz="1400" dirty="0"/>
              <a:t>Kayıt ve Dosyalama Sistemi: İdareler, gelen ve giden her türlü evrak dahil iş ve işlemlerin kaydedildiği, sınıflandırıldığı ve dosyalandığı kapsamlı ve güncel bir sisteme sahip o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C231CF5-02E8-4744-B7D5-2C778AF87DFF}"/>
              </a:ext>
            </a:extLst>
          </p:cNvPr>
          <p:cNvSpPr/>
          <p:nvPr/>
        </p:nvSpPr>
        <p:spPr>
          <a:xfrm>
            <a:off x="2506307" y="1859873"/>
            <a:ext cx="4617236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Genel Şart: BİS (15.3)</a:t>
            </a:r>
          </a:p>
          <a:p>
            <a:r>
              <a:rPr lang="tr-TR" sz="1400" dirty="0"/>
              <a:t>Kayıt ve dosyalama sistemi, kişisel verilerin güvenliğini ve korunmasını sağlamalıdır.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076859F-8B47-4964-BF93-D460F28939E7}"/>
              </a:ext>
            </a:extLst>
          </p:cNvPr>
          <p:cNvSpPr/>
          <p:nvPr/>
        </p:nvSpPr>
        <p:spPr>
          <a:xfrm>
            <a:off x="4814925" y="2598537"/>
            <a:ext cx="4617236" cy="954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Eylem: (E.15.3.2)</a:t>
            </a:r>
          </a:p>
          <a:p>
            <a:r>
              <a:rPr lang="tr-TR" sz="14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6735ADF6-7A30-4FE9-A5A4-B15912ED73A1}"/>
              </a:ext>
            </a:extLst>
          </p:cNvPr>
          <p:cNvSpPr/>
          <p:nvPr/>
        </p:nvSpPr>
        <p:spPr>
          <a:xfrm>
            <a:off x="-4800349" y="4405600"/>
            <a:ext cx="1837041" cy="5232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C5C5DCEB-F12C-47CF-A3D8-F5D9F026320F}"/>
              </a:ext>
            </a:extLst>
          </p:cNvPr>
          <p:cNvSpPr/>
          <p:nvPr/>
        </p:nvSpPr>
        <p:spPr>
          <a:xfrm>
            <a:off x="-4800349" y="3880272"/>
            <a:ext cx="2280624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aşra Teşkilatı Sistem Raporu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CEC44FF4-725E-4A1D-B526-9C245B306D46}"/>
              </a:ext>
            </a:extLst>
          </p:cNvPr>
          <p:cNvSpPr/>
          <p:nvPr/>
        </p:nvSpPr>
        <p:spPr>
          <a:xfrm>
            <a:off x="-4800349" y="3347069"/>
            <a:ext cx="3035703" cy="5232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Sağlık Bilgi Sistemleri Genel Müdürlüğü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5B10CB0E-BD7D-45F7-9565-845BB5AF056A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78876349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9748109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" name="Dikdörtgen 1">
            <a:extLst>
              <a:ext uri="{FF2B5EF4-FFF2-40B4-BE49-F238E27FC236}">
                <a16:creationId xmlns:a16="http://schemas.microsoft.com/office/drawing/2014/main" id="{1BF3D90C-9066-4A94-98B8-5CE5C784B025}"/>
              </a:ext>
            </a:extLst>
          </p:cNvPr>
          <p:cNvSpPr/>
          <p:nvPr/>
        </p:nvSpPr>
        <p:spPr>
          <a:xfrm>
            <a:off x="303878" y="900702"/>
            <a:ext cx="4617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Standart: BİS (15)</a:t>
            </a:r>
          </a:p>
          <a:p>
            <a:r>
              <a:rPr lang="tr-TR" sz="1400" dirty="0"/>
              <a:t>Kayıt ve Dosyalama Sistemi: İdareler, gelen ve giden her türlü evrak dahil iş ve işlemlerin kaydedildiği, sınıflandırıldığı ve dosyalandığı kapsamlı ve güncel bir sisteme sahip o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C231CF5-02E8-4744-B7D5-2C778AF87DFF}"/>
              </a:ext>
            </a:extLst>
          </p:cNvPr>
          <p:cNvSpPr/>
          <p:nvPr/>
        </p:nvSpPr>
        <p:spPr>
          <a:xfrm>
            <a:off x="2506307" y="1859873"/>
            <a:ext cx="4617236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Genel Şart: BİS (15.3)</a:t>
            </a:r>
          </a:p>
          <a:p>
            <a:r>
              <a:rPr lang="tr-TR" sz="1400" dirty="0"/>
              <a:t>Kayıt ve dosyalama sistemi, kişisel verilerin güvenliğini ve korunmasını sağlamalıdır.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076859F-8B47-4964-BF93-D460F28939E7}"/>
              </a:ext>
            </a:extLst>
          </p:cNvPr>
          <p:cNvSpPr/>
          <p:nvPr/>
        </p:nvSpPr>
        <p:spPr>
          <a:xfrm>
            <a:off x="4814925" y="2598537"/>
            <a:ext cx="4617236" cy="954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Eylem: (E.15.3.2)</a:t>
            </a:r>
          </a:p>
          <a:p>
            <a:r>
              <a:rPr lang="tr-TR" sz="14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6735ADF6-7A30-4FE9-A5A4-B15912ED73A1}"/>
              </a:ext>
            </a:extLst>
          </p:cNvPr>
          <p:cNvSpPr/>
          <p:nvPr/>
        </p:nvSpPr>
        <p:spPr>
          <a:xfrm>
            <a:off x="-4800349" y="4405600"/>
            <a:ext cx="1837041" cy="5232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C5C5DCEB-F12C-47CF-A3D8-F5D9F026320F}"/>
              </a:ext>
            </a:extLst>
          </p:cNvPr>
          <p:cNvSpPr/>
          <p:nvPr/>
        </p:nvSpPr>
        <p:spPr>
          <a:xfrm>
            <a:off x="-4800349" y="3880272"/>
            <a:ext cx="2280624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aşra Teşkilatı Sistem Raporu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CEC44FF4-725E-4A1D-B526-9C245B306D46}"/>
              </a:ext>
            </a:extLst>
          </p:cNvPr>
          <p:cNvSpPr/>
          <p:nvPr/>
        </p:nvSpPr>
        <p:spPr>
          <a:xfrm>
            <a:off x="3297073" y="3536034"/>
            <a:ext cx="3035703" cy="5232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Sağlık Bilgi Sistemleri Genel Müdürlüğü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DB1AC9C3-41A5-4364-BD01-9E5473050373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84895072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9748109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" name="Dikdörtgen 1">
            <a:extLst>
              <a:ext uri="{FF2B5EF4-FFF2-40B4-BE49-F238E27FC236}">
                <a16:creationId xmlns:a16="http://schemas.microsoft.com/office/drawing/2014/main" id="{1BF3D90C-9066-4A94-98B8-5CE5C784B025}"/>
              </a:ext>
            </a:extLst>
          </p:cNvPr>
          <p:cNvSpPr/>
          <p:nvPr/>
        </p:nvSpPr>
        <p:spPr>
          <a:xfrm>
            <a:off x="303878" y="900702"/>
            <a:ext cx="4617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Standart: BİS (15)</a:t>
            </a:r>
          </a:p>
          <a:p>
            <a:r>
              <a:rPr lang="tr-TR" sz="1400" dirty="0"/>
              <a:t>Kayıt ve Dosyalama Sistemi: İdareler, gelen ve giden her türlü evrak dahil iş ve işlemlerin kaydedildiği, sınıflandırıldığı ve dosyalandığı kapsamlı ve güncel bir sisteme sahip o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C231CF5-02E8-4744-B7D5-2C778AF87DFF}"/>
              </a:ext>
            </a:extLst>
          </p:cNvPr>
          <p:cNvSpPr/>
          <p:nvPr/>
        </p:nvSpPr>
        <p:spPr>
          <a:xfrm>
            <a:off x="2506307" y="1859873"/>
            <a:ext cx="4617236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Genel Şart: BİS (15.3)</a:t>
            </a:r>
          </a:p>
          <a:p>
            <a:r>
              <a:rPr lang="tr-TR" sz="1400" dirty="0"/>
              <a:t>Kayıt ve dosyalama sistemi, kişisel verilerin güvenliğini ve korunmasını sağlamalıdır.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076859F-8B47-4964-BF93-D460F28939E7}"/>
              </a:ext>
            </a:extLst>
          </p:cNvPr>
          <p:cNvSpPr/>
          <p:nvPr/>
        </p:nvSpPr>
        <p:spPr>
          <a:xfrm>
            <a:off x="4814925" y="2598537"/>
            <a:ext cx="4617236" cy="954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Eylem: (E.15.3.2)</a:t>
            </a:r>
          </a:p>
          <a:p>
            <a:r>
              <a:rPr lang="tr-TR" sz="14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6735ADF6-7A30-4FE9-A5A4-B15912ED73A1}"/>
              </a:ext>
            </a:extLst>
          </p:cNvPr>
          <p:cNvSpPr/>
          <p:nvPr/>
        </p:nvSpPr>
        <p:spPr>
          <a:xfrm>
            <a:off x="-4800349" y="4405600"/>
            <a:ext cx="1837041" cy="5232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C5C5DCEB-F12C-47CF-A3D8-F5D9F026320F}"/>
              </a:ext>
            </a:extLst>
          </p:cNvPr>
          <p:cNvSpPr/>
          <p:nvPr/>
        </p:nvSpPr>
        <p:spPr>
          <a:xfrm>
            <a:off x="2156761" y="4069607"/>
            <a:ext cx="2280624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aşra Teşkilatı Sistem Raporu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CEC44FF4-725E-4A1D-B526-9C245B306D46}"/>
              </a:ext>
            </a:extLst>
          </p:cNvPr>
          <p:cNvSpPr/>
          <p:nvPr/>
        </p:nvSpPr>
        <p:spPr>
          <a:xfrm>
            <a:off x="3297073" y="3536034"/>
            <a:ext cx="3035703" cy="5232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Sağlık Bilgi Sistemleri Genel Müdürlüğü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1FA25B5F-03F1-42D3-9150-EF741EC60C23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9854772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ikdörtgen: Yuvarlatılmış Köşeler 28">
            <a:extLst>
              <a:ext uri="{FF2B5EF4-FFF2-40B4-BE49-F238E27FC236}">
                <a16:creationId xmlns:a16="http://schemas.microsoft.com/office/drawing/2014/main" id="{F8C87E35-06C7-4BD3-8222-367D6F143BBF}"/>
              </a:ext>
            </a:extLst>
          </p:cNvPr>
          <p:cNvSpPr/>
          <p:nvPr/>
        </p:nvSpPr>
        <p:spPr>
          <a:xfrm>
            <a:off x="1306531" y="2257965"/>
            <a:ext cx="2095870" cy="27328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E2F0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600" b="1" u="sng" dirty="0">
                <a:solidFill>
                  <a:schemeClr val="tx1"/>
                </a:solidFill>
              </a:rPr>
              <a:t>STANDART-1 (KOS)</a:t>
            </a:r>
          </a:p>
          <a:p>
            <a:r>
              <a:rPr lang="tr-TR" sz="1600" dirty="0">
                <a:solidFill>
                  <a:schemeClr val="tx1"/>
                </a:solidFill>
              </a:rPr>
              <a:t>Etik Değerler ve Dürüstlük: Personel davranışlarını belirleyen kuralların personel tarafından bilinmesi sağlanmalıdır.</a:t>
            </a:r>
          </a:p>
        </p:txBody>
      </p:sp>
      <p:sp>
        <p:nvSpPr>
          <p:cNvPr id="31" name="Dikdörtgen: Yuvarlatılmış Köşeler 30">
            <a:extLst>
              <a:ext uri="{FF2B5EF4-FFF2-40B4-BE49-F238E27FC236}">
                <a16:creationId xmlns:a16="http://schemas.microsoft.com/office/drawing/2014/main" id="{1CBA9C02-8F7B-44B1-954E-F5487E34B299}"/>
              </a:ext>
            </a:extLst>
          </p:cNvPr>
          <p:cNvSpPr/>
          <p:nvPr/>
        </p:nvSpPr>
        <p:spPr>
          <a:xfrm>
            <a:off x="3841570" y="2257965"/>
            <a:ext cx="2095870" cy="273288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400" b="1" u="sng" dirty="0">
                <a:solidFill>
                  <a:schemeClr val="tx1"/>
                </a:solidFill>
              </a:rPr>
              <a:t>GENEL ŞART (K</a:t>
            </a:r>
            <a:r>
              <a:rPr lang="tr-TR" sz="1600" b="1" u="sng" dirty="0">
                <a:solidFill>
                  <a:schemeClr val="tx1"/>
                </a:solidFill>
              </a:rPr>
              <a:t>OS 1.2)</a:t>
            </a:r>
          </a:p>
          <a:p>
            <a:r>
              <a:rPr lang="tr-TR" sz="1600" dirty="0">
                <a:solidFill>
                  <a:schemeClr val="tx1"/>
                </a:solidFill>
              </a:rPr>
              <a:t>İdarenin yöneticileri iç kontrol sisteminin uygulanmasında personele örnek olmalıdır.</a:t>
            </a:r>
          </a:p>
        </p:txBody>
      </p:sp>
      <p:sp>
        <p:nvSpPr>
          <p:cNvPr id="32" name="Dikdörtgen: Yuvarlatılmış Köşeler 31">
            <a:extLst>
              <a:ext uri="{FF2B5EF4-FFF2-40B4-BE49-F238E27FC236}">
                <a16:creationId xmlns:a16="http://schemas.microsoft.com/office/drawing/2014/main" id="{4D28CAD3-A5B7-4BC1-A6B2-B2F4B374FEA6}"/>
              </a:ext>
            </a:extLst>
          </p:cNvPr>
          <p:cNvSpPr/>
          <p:nvPr/>
        </p:nvSpPr>
        <p:spPr>
          <a:xfrm>
            <a:off x="6387146" y="2260138"/>
            <a:ext cx="2095870" cy="273288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>
                <a:solidFill>
                  <a:schemeClr val="tx1"/>
                </a:solidFill>
              </a:rPr>
              <a:t>EYLEM (E.1.2.1)</a:t>
            </a:r>
          </a:p>
          <a:p>
            <a:r>
              <a:rPr lang="tr-TR" sz="1600" dirty="0">
                <a:solidFill>
                  <a:schemeClr val="tx1"/>
                </a:solidFill>
              </a:rPr>
              <a:t>Harcama Birimi düzeyinde yönetici tarafından kurumsallaşma kapsamında personeli ile toplantı düzenlemesi</a:t>
            </a:r>
          </a:p>
        </p:txBody>
      </p:sp>
      <p:sp>
        <p:nvSpPr>
          <p:cNvPr id="33" name="Dikdörtgen: Yuvarlatılmış Köşeler 32">
            <a:extLst>
              <a:ext uri="{FF2B5EF4-FFF2-40B4-BE49-F238E27FC236}">
                <a16:creationId xmlns:a16="http://schemas.microsoft.com/office/drawing/2014/main" id="{C1C24B29-A7E8-4C4C-8904-AAB46B8C8673}"/>
              </a:ext>
            </a:extLst>
          </p:cNvPr>
          <p:cNvSpPr/>
          <p:nvPr/>
        </p:nvSpPr>
        <p:spPr>
          <a:xfrm>
            <a:off x="9003930" y="2257965"/>
            <a:ext cx="2095870" cy="2732883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dirty="0">
                <a:solidFill>
                  <a:schemeClr val="tx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Merkez Birimler/İl Sağlık Müdürlükler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oplantı Görselleri Katılımcı Listesi</a:t>
            </a:r>
          </a:p>
          <a:p>
            <a:endParaRPr lang="tr-TR" sz="1400" dirty="0">
              <a:solidFill>
                <a:schemeClr val="bg1"/>
              </a:solidFill>
            </a:endParaRPr>
          </a:p>
          <a:p>
            <a:r>
              <a:rPr lang="tr-TR" sz="1400" b="1" dirty="0">
                <a:solidFill>
                  <a:schemeClr val="tx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937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7" name="Konuşma Balonu: Oval 6">
            <a:extLst>
              <a:ext uri="{FF2B5EF4-FFF2-40B4-BE49-F238E27FC236}">
                <a16:creationId xmlns:a16="http://schemas.microsoft.com/office/drawing/2014/main" id="{AD6722E1-43C7-4029-B712-FF661927ED82}"/>
              </a:ext>
            </a:extLst>
          </p:cNvPr>
          <p:cNvSpPr/>
          <p:nvPr/>
        </p:nvSpPr>
        <p:spPr>
          <a:xfrm>
            <a:off x="3511550" y="877749"/>
            <a:ext cx="5168900" cy="678670"/>
          </a:xfrm>
          <a:prstGeom prst="wedgeEllipseCallout">
            <a:avLst>
              <a:gd name="adj1" fmla="val 26097"/>
              <a:gd name="adj2" fmla="val 124254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KONTROL ORTAMI STANDARDI (KOS</a:t>
            </a:r>
            <a:r>
              <a:rPr lang="tr-TR" dirty="0"/>
              <a:t>)</a:t>
            </a:r>
          </a:p>
        </p:txBody>
      </p:sp>
      <p:sp>
        <p:nvSpPr>
          <p:cNvPr id="65" name="Serbest Form: Şekil 64">
            <a:extLst>
              <a:ext uri="{FF2B5EF4-FFF2-40B4-BE49-F238E27FC236}">
                <a16:creationId xmlns:a16="http://schemas.microsoft.com/office/drawing/2014/main" id="{179F2948-DDDD-4A51-810D-24FEE4A60903}"/>
              </a:ext>
            </a:extLst>
          </p:cNvPr>
          <p:cNvSpPr/>
          <p:nvPr/>
        </p:nvSpPr>
        <p:spPr>
          <a:xfrm>
            <a:off x="-1782623" y="2146300"/>
            <a:ext cx="26055484" cy="2956199"/>
          </a:xfrm>
          <a:custGeom>
            <a:avLst/>
            <a:gdLst>
              <a:gd name="connsiteX0" fmla="*/ 766505 w 26055484"/>
              <a:gd name="connsiteY0" fmla="*/ 93541 h 2926666"/>
              <a:gd name="connsiteX1" fmla="*/ 311015 w 26055484"/>
              <a:gd name="connsiteY1" fmla="*/ 549031 h 2926666"/>
              <a:gd name="connsiteX2" fmla="*/ 311015 w 26055484"/>
              <a:gd name="connsiteY2" fmla="*/ 2370934 h 2926666"/>
              <a:gd name="connsiteX3" fmla="*/ 766505 w 26055484"/>
              <a:gd name="connsiteY3" fmla="*/ 2826424 h 2926666"/>
              <a:gd name="connsiteX4" fmla="*/ 9831510 w 26055484"/>
              <a:gd name="connsiteY4" fmla="*/ 2826424 h 2926666"/>
              <a:gd name="connsiteX5" fmla="*/ 10287000 w 26055484"/>
              <a:gd name="connsiteY5" fmla="*/ 2370934 h 2926666"/>
              <a:gd name="connsiteX6" fmla="*/ 10287000 w 26055484"/>
              <a:gd name="connsiteY6" fmla="*/ 549031 h 2926666"/>
              <a:gd name="connsiteX7" fmla="*/ 9831510 w 26055484"/>
              <a:gd name="connsiteY7" fmla="*/ 93541 h 2926666"/>
              <a:gd name="connsiteX8" fmla="*/ 0 w 26055484"/>
              <a:gd name="connsiteY8" fmla="*/ 0 h 2926666"/>
              <a:gd name="connsiteX9" fmla="*/ 26055484 w 26055484"/>
              <a:gd name="connsiteY9" fmla="*/ 0 h 2926666"/>
              <a:gd name="connsiteX10" fmla="*/ 26055484 w 26055484"/>
              <a:gd name="connsiteY10" fmla="*/ 2926666 h 2926666"/>
              <a:gd name="connsiteX11" fmla="*/ 0 w 26055484"/>
              <a:gd name="connsiteY11" fmla="*/ 2926666 h 292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55484" h="2926666">
                <a:moveTo>
                  <a:pt x="766505" y="93541"/>
                </a:moveTo>
                <a:cubicBezTo>
                  <a:pt x="514945" y="93541"/>
                  <a:pt x="311015" y="297471"/>
                  <a:pt x="311015" y="549031"/>
                </a:cubicBezTo>
                <a:lnTo>
                  <a:pt x="311015" y="2370934"/>
                </a:lnTo>
                <a:cubicBezTo>
                  <a:pt x="311015" y="2622494"/>
                  <a:pt x="514945" y="2826424"/>
                  <a:pt x="766505" y="2826424"/>
                </a:cubicBezTo>
                <a:lnTo>
                  <a:pt x="9831510" y="2826424"/>
                </a:lnTo>
                <a:cubicBezTo>
                  <a:pt x="10083070" y="2826424"/>
                  <a:pt x="10287000" y="2622494"/>
                  <a:pt x="10287000" y="2370934"/>
                </a:cubicBezTo>
                <a:lnTo>
                  <a:pt x="10287000" y="549031"/>
                </a:lnTo>
                <a:cubicBezTo>
                  <a:pt x="10287000" y="297471"/>
                  <a:pt x="10083070" y="93541"/>
                  <a:pt x="9831510" y="93541"/>
                </a:cubicBezTo>
                <a:close/>
                <a:moveTo>
                  <a:pt x="0" y="0"/>
                </a:moveTo>
                <a:lnTo>
                  <a:pt x="26055484" y="0"/>
                </a:lnTo>
                <a:lnTo>
                  <a:pt x="26055484" y="2926666"/>
                </a:lnTo>
                <a:lnTo>
                  <a:pt x="0" y="2926666"/>
                </a:lnTo>
                <a:close/>
              </a:path>
            </a:pathLst>
          </a:custGeom>
          <a:solidFill>
            <a:srgbClr val="CFD2D9"/>
          </a:solidFill>
          <a:ln>
            <a:solidFill>
              <a:srgbClr val="CFD2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03856313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rup 116">
            <a:extLst>
              <a:ext uri="{FF2B5EF4-FFF2-40B4-BE49-F238E27FC236}">
                <a16:creationId xmlns:a16="http://schemas.microsoft.com/office/drawing/2014/main" id="{73717C0F-141B-4592-96C7-C660C68127EB}"/>
              </a:ext>
            </a:extLst>
          </p:cNvPr>
          <p:cNvGrpSpPr/>
          <p:nvPr/>
        </p:nvGrpSpPr>
        <p:grpSpPr>
          <a:xfrm>
            <a:off x="-9748109" y="5374733"/>
            <a:ext cx="12192000" cy="956220"/>
            <a:chOff x="-393700" y="5316151"/>
            <a:chExt cx="12192000" cy="1285400"/>
          </a:xfrm>
        </p:grpSpPr>
        <p:grpSp>
          <p:nvGrpSpPr>
            <p:cNvPr id="118" name="Grup 117">
              <a:extLst>
                <a:ext uri="{FF2B5EF4-FFF2-40B4-BE49-F238E27FC236}">
                  <a16:creationId xmlns:a16="http://schemas.microsoft.com/office/drawing/2014/main" id="{8F14711A-9580-4F1D-A4A8-DF7B779C320C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125" name="Dikdörtgen 124">
                <a:extLst>
                  <a:ext uri="{FF2B5EF4-FFF2-40B4-BE49-F238E27FC236}">
                    <a16:creationId xmlns:a16="http://schemas.microsoft.com/office/drawing/2014/main" id="{C72F20CA-2077-4B54-BC7B-4BA65A514EC7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6" name="Oval 125">
                <a:extLst>
                  <a:ext uri="{FF2B5EF4-FFF2-40B4-BE49-F238E27FC236}">
                    <a16:creationId xmlns:a16="http://schemas.microsoft.com/office/drawing/2014/main" id="{00C30EE6-3D69-4773-9784-DDB76008B663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27" name="Oval 126">
                <a:extLst>
                  <a:ext uri="{FF2B5EF4-FFF2-40B4-BE49-F238E27FC236}">
                    <a16:creationId xmlns:a16="http://schemas.microsoft.com/office/drawing/2014/main" id="{42E4AD2A-49D6-4FA7-AE65-E1DD45E31E7D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28" name="Oval 127">
                <a:extLst>
                  <a:ext uri="{FF2B5EF4-FFF2-40B4-BE49-F238E27FC236}">
                    <a16:creationId xmlns:a16="http://schemas.microsoft.com/office/drawing/2014/main" id="{8BA11F70-8A9F-43D1-9745-F5AC82614BEA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29" name="Oval 128">
                <a:extLst>
                  <a:ext uri="{FF2B5EF4-FFF2-40B4-BE49-F238E27FC236}">
                    <a16:creationId xmlns:a16="http://schemas.microsoft.com/office/drawing/2014/main" id="{7670DB92-2193-4CAB-9483-69ED3FD25F79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0" name="Oval 129">
                <a:extLst>
                  <a:ext uri="{FF2B5EF4-FFF2-40B4-BE49-F238E27FC236}">
                    <a16:creationId xmlns:a16="http://schemas.microsoft.com/office/drawing/2014/main" id="{0B653BD6-8DCD-42BA-A78C-010A6A3541F8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1" name="Oval 130">
                <a:extLst>
                  <a:ext uri="{FF2B5EF4-FFF2-40B4-BE49-F238E27FC236}">
                    <a16:creationId xmlns:a16="http://schemas.microsoft.com/office/drawing/2014/main" id="{5AEBDE3C-7048-4A12-AA2C-01005870A620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D3E1E7CA-345D-4D26-AFB4-C0B487F1FE19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119" name="Dikdörtgen 118">
              <a:extLst>
                <a:ext uri="{FF2B5EF4-FFF2-40B4-BE49-F238E27FC236}">
                  <a16:creationId xmlns:a16="http://schemas.microsoft.com/office/drawing/2014/main" id="{B7382B0C-F045-4482-9A36-5A0973DD0A01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20" name="Dikdörtgen 119">
              <a:extLst>
                <a:ext uri="{FF2B5EF4-FFF2-40B4-BE49-F238E27FC236}">
                  <a16:creationId xmlns:a16="http://schemas.microsoft.com/office/drawing/2014/main" id="{2F5EAC24-F456-41B0-9925-C120E9CFD6FC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121" name="Dikdörtgen 120">
              <a:extLst>
                <a:ext uri="{FF2B5EF4-FFF2-40B4-BE49-F238E27FC236}">
                  <a16:creationId xmlns:a16="http://schemas.microsoft.com/office/drawing/2014/main" id="{BF174BFA-890F-4D26-9DC9-5CCEF8487C80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122" name="Dikdörtgen 121">
              <a:extLst>
                <a:ext uri="{FF2B5EF4-FFF2-40B4-BE49-F238E27FC236}">
                  <a16:creationId xmlns:a16="http://schemas.microsoft.com/office/drawing/2014/main" id="{B935F65D-8253-4460-A21B-CB35F3C1C6DB}"/>
                </a:ext>
              </a:extLst>
            </p:cNvPr>
            <p:cNvSpPr/>
            <p:nvPr/>
          </p:nvSpPr>
          <p:spPr>
            <a:xfrm>
              <a:off x="6691602" y="5738278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123" name="Dikdörtgen 122">
              <a:extLst>
                <a:ext uri="{FF2B5EF4-FFF2-40B4-BE49-F238E27FC236}">
                  <a16:creationId xmlns:a16="http://schemas.microsoft.com/office/drawing/2014/main" id="{1B21464D-7C81-4342-8AD8-2CDE5C16773E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124" name="Dikdörtgen 123">
              <a:extLst>
                <a:ext uri="{FF2B5EF4-FFF2-40B4-BE49-F238E27FC236}">
                  <a16:creationId xmlns:a16="http://schemas.microsoft.com/office/drawing/2014/main" id="{D37C93FA-D26B-49D6-A06E-1A26A4967CD0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133" name="Grup 132">
            <a:extLst>
              <a:ext uri="{FF2B5EF4-FFF2-40B4-BE49-F238E27FC236}">
                <a16:creationId xmlns:a16="http://schemas.microsoft.com/office/drawing/2014/main" id="{BA6B99A0-CAA7-478C-97C9-0FCFC087A0AA}"/>
              </a:ext>
            </a:extLst>
          </p:cNvPr>
          <p:cNvGrpSpPr/>
          <p:nvPr/>
        </p:nvGrpSpPr>
        <p:grpSpPr>
          <a:xfrm>
            <a:off x="5617" y="5152034"/>
            <a:ext cx="12192000" cy="1358900"/>
            <a:chOff x="0" y="2446671"/>
            <a:chExt cx="12192000" cy="1826703"/>
          </a:xfrm>
        </p:grpSpPr>
        <p:sp>
          <p:nvSpPr>
            <p:cNvPr id="134" name="Serbest Form: Şekil 133">
              <a:extLst>
                <a:ext uri="{FF2B5EF4-FFF2-40B4-BE49-F238E27FC236}">
                  <a16:creationId xmlns:a16="http://schemas.microsoft.com/office/drawing/2014/main" id="{1159C9D1-E04D-4BBF-A43E-2719570E3F91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35" name="Serbest Form: Şekil 134">
              <a:extLst>
                <a:ext uri="{FF2B5EF4-FFF2-40B4-BE49-F238E27FC236}">
                  <a16:creationId xmlns:a16="http://schemas.microsoft.com/office/drawing/2014/main" id="{4905A4B2-8121-46B1-B3B0-C5B927B21D58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" name="Dikdörtgen 1">
            <a:extLst>
              <a:ext uri="{FF2B5EF4-FFF2-40B4-BE49-F238E27FC236}">
                <a16:creationId xmlns:a16="http://schemas.microsoft.com/office/drawing/2014/main" id="{1BF3D90C-9066-4A94-98B8-5CE5C784B025}"/>
              </a:ext>
            </a:extLst>
          </p:cNvPr>
          <p:cNvSpPr/>
          <p:nvPr/>
        </p:nvSpPr>
        <p:spPr>
          <a:xfrm>
            <a:off x="303878" y="900702"/>
            <a:ext cx="4617236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Standart: BİS (15)</a:t>
            </a:r>
          </a:p>
          <a:p>
            <a:r>
              <a:rPr lang="tr-TR" sz="1400" dirty="0"/>
              <a:t>Kayıt ve Dosyalama Sistemi: İdareler, gelen ve giden her türlü evrak dahil iş ve işlemlerin kaydedildiği, sınıflandırıldığı ve dosyalandığı kapsamlı ve güncel bir sisteme sahip olmalıdır.</a:t>
            </a:r>
          </a:p>
        </p:txBody>
      </p:sp>
      <p:sp>
        <p:nvSpPr>
          <p:cNvPr id="3" name="Dikdörtgen 2">
            <a:extLst>
              <a:ext uri="{FF2B5EF4-FFF2-40B4-BE49-F238E27FC236}">
                <a16:creationId xmlns:a16="http://schemas.microsoft.com/office/drawing/2014/main" id="{3C231CF5-02E8-4744-B7D5-2C778AF87DFF}"/>
              </a:ext>
            </a:extLst>
          </p:cNvPr>
          <p:cNvSpPr/>
          <p:nvPr/>
        </p:nvSpPr>
        <p:spPr>
          <a:xfrm>
            <a:off x="2506307" y="1859873"/>
            <a:ext cx="4617236" cy="73866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Genel Şart: BİS (15.3)</a:t>
            </a:r>
          </a:p>
          <a:p>
            <a:r>
              <a:rPr lang="tr-TR" sz="1400" dirty="0"/>
              <a:t>Kayıt ve dosyalama sistemi, kişisel verilerin güvenliğini ve korunmasını sağlamalıdır.</a:t>
            </a:r>
          </a:p>
        </p:txBody>
      </p:sp>
      <p:sp>
        <p:nvSpPr>
          <p:cNvPr id="4" name="Dikdörtgen 3">
            <a:extLst>
              <a:ext uri="{FF2B5EF4-FFF2-40B4-BE49-F238E27FC236}">
                <a16:creationId xmlns:a16="http://schemas.microsoft.com/office/drawing/2014/main" id="{3076859F-8B47-4964-BF93-D460F28939E7}"/>
              </a:ext>
            </a:extLst>
          </p:cNvPr>
          <p:cNvSpPr/>
          <p:nvPr/>
        </p:nvSpPr>
        <p:spPr>
          <a:xfrm>
            <a:off x="4814925" y="2598537"/>
            <a:ext cx="4617236" cy="954107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tr-TR" sz="1400" b="1" u="sng" dirty="0"/>
              <a:t>Eylem: (E.15.3.2)</a:t>
            </a:r>
          </a:p>
          <a:p>
            <a:r>
              <a:rPr lang="tr-TR" sz="1400" dirty="0"/>
              <a:t>Taşra teşkilatına yönelik 657 sayılı Kanuna tabi personelin yıllık izin taleplerinin ve izin onay işlemlerinin sistem üzerinden yapılabilmesi için gerekli düzenlemelerin yapılması</a:t>
            </a:r>
          </a:p>
        </p:txBody>
      </p:sp>
      <p:sp>
        <p:nvSpPr>
          <p:cNvPr id="5" name="Dikdörtgen 4">
            <a:extLst>
              <a:ext uri="{FF2B5EF4-FFF2-40B4-BE49-F238E27FC236}">
                <a16:creationId xmlns:a16="http://schemas.microsoft.com/office/drawing/2014/main" id="{6735ADF6-7A30-4FE9-A5A4-B15912ED73A1}"/>
              </a:ext>
            </a:extLst>
          </p:cNvPr>
          <p:cNvSpPr/>
          <p:nvPr/>
        </p:nvSpPr>
        <p:spPr>
          <a:xfrm>
            <a:off x="1379275" y="4594634"/>
            <a:ext cx="1837041" cy="52322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Dönemi</a:t>
            </a:r>
          </a:p>
          <a:p>
            <a:r>
              <a:rPr lang="tr-TR" sz="1400" dirty="0">
                <a:solidFill>
                  <a:schemeClr val="bg1"/>
                </a:solidFill>
              </a:rPr>
              <a:t>2. Çeyrek Dönem 2024</a:t>
            </a:r>
          </a:p>
        </p:txBody>
      </p:sp>
      <p:sp>
        <p:nvSpPr>
          <p:cNvPr id="6" name="Dikdörtgen 5">
            <a:extLst>
              <a:ext uri="{FF2B5EF4-FFF2-40B4-BE49-F238E27FC236}">
                <a16:creationId xmlns:a16="http://schemas.microsoft.com/office/drawing/2014/main" id="{C5C5DCEB-F12C-47CF-A3D8-F5D9F026320F}"/>
              </a:ext>
            </a:extLst>
          </p:cNvPr>
          <p:cNvSpPr/>
          <p:nvPr/>
        </p:nvSpPr>
        <p:spPr>
          <a:xfrm>
            <a:off x="2156761" y="4069607"/>
            <a:ext cx="2280624" cy="52322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Eylem Çıktısı</a:t>
            </a:r>
          </a:p>
          <a:p>
            <a:r>
              <a:rPr lang="tr-TR" sz="1400" dirty="0">
                <a:solidFill>
                  <a:schemeClr val="bg1"/>
                </a:solidFill>
              </a:rPr>
              <a:t>Taşra Teşkilatı Sistem Raporu</a:t>
            </a:r>
          </a:p>
        </p:txBody>
      </p:sp>
      <p:sp>
        <p:nvSpPr>
          <p:cNvPr id="7" name="Dikdörtgen 6">
            <a:extLst>
              <a:ext uri="{FF2B5EF4-FFF2-40B4-BE49-F238E27FC236}">
                <a16:creationId xmlns:a16="http://schemas.microsoft.com/office/drawing/2014/main" id="{CEC44FF4-725E-4A1D-B526-9C245B306D46}"/>
              </a:ext>
            </a:extLst>
          </p:cNvPr>
          <p:cNvSpPr/>
          <p:nvPr/>
        </p:nvSpPr>
        <p:spPr>
          <a:xfrm>
            <a:off x="3297073" y="3536034"/>
            <a:ext cx="3035703" cy="52322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none">
            <a:spAutoFit/>
          </a:bodyPr>
          <a:lstStyle/>
          <a:p>
            <a:r>
              <a:rPr lang="tr-TR" sz="1400" b="1" u="sng" dirty="0">
                <a:solidFill>
                  <a:schemeClr val="bg1"/>
                </a:solidFill>
              </a:rPr>
              <a:t>Sorumlu Birim</a:t>
            </a:r>
          </a:p>
          <a:p>
            <a:r>
              <a:rPr lang="tr-TR" sz="1400" dirty="0">
                <a:solidFill>
                  <a:schemeClr val="bg1"/>
                </a:solidFill>
              </a:rPr>
              <a:t>Sağlık Bilgi Sistemleri Genel Müdürlüğü</a:t>
            </a:r>
          </a:p>
        </p:txBody>
      </p:sp>
      <p:sp>
        <p:nvSpPr>
          <p:cNvPr id="28" name="Konuşma Balonu: Oval 27">
            <a:extLst>
              <a:ext uri="{FF2B5EF4-FFF2-40B4-BE49-F238E27FC236}">
                <a16:creationId xmlns:a16="http://schemas.microsoft.com/office/drawing/2014/main" id="{5167087F-02AE-4553-889D-8E2344D1A184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BİLGİ VE İLETİŞİM STANDARDI (Bİ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39311110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Dikdörtgen: Yuvarlatılmış Köşeler 28">
            <a:extLst>
              <a:ext uri="{FF2B5EF4-FFF2-40B4-BE49-F238E27FC236}">
                <a16:creationId xmlns:a16="http://schemas.microsoft.com/office/drawing/2014/main" id="{F8C87E35-06C7-4BD3-8222-367D6F143BBF}"/>
              </a:ext>
            </a:extLst>
          </p:cNvPr>
          <p:cNvSpPr/>
          <p:nvPr/>
        </p:nvSpPr>
        <p:spPr>
          <a:xfrm>
            <a:off x="1306531" y="2257965"/>
            <a:ext cx="2095870" cy="27328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E2F0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400" b="1" u="sng" dirty="0">
                <a:solidFill>
                  <a:schemeClr val="tx1"/>
                </a:solidFill>
              </a:rPr>
              <a:t>STANDART-1 (KOS)</a:t>
            </a:r>
          </a:p>
          <a:p>
            <a:r>
              <a:rPr lang="tr-TR" sz="1600" dirty="0">
                <a:solidFill>
                  <a:schemeClr val="tx1"/>
                </a:solidFill>
              </a:rPr>
              <a:t>Etik Değerler ve Dürüstlük: Personel davranışlarını belirleyen kuralların personel tarafından bilinmesi sağlanmalıdır.</a:t>
            </a:r>
          </a:p>
        </p:txBody>
      </p:sp>
      <p:sp>
        <p:nvSpPr>
          <p:cNvPr id="31" name="Dikdörtgen: Yuvarlatılmış Köşeler 30">
            <a:extLst>
              <a:ext uri="{FF2B5EF4-FFF2-40B4-BE49-F238E27FC236}">
                <a16:creationId xmlns:a16="http://schemas.microsoft.com/office/drawing/2014/main" id="{1CBA9C02-8F7B-44B1-954E-F5487E34B299}"/>
              </a:ext>
            </a:extLst>
          </p:cNvPr>
          <p:cNvSpPr/>
          <p:nvPr/>
        </p:nvSpPr>
        <p:spPr>
          <a:xfrm>
            <a:off x="3841570" y="2257965"/>
            <a:ext cx="2095870" cy="273288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400" b="1" u="sng" dirty="0">
                <a:solidFill>
                  <a:schemeClr val="tx1"/>
                </a:solidFill>
              </a:rPr>
              <a:t>GENEL ŞART (KOS 1.2)</a:t>
            </a:r>
          </a:p>
          <a:p>
            <a:r>
              <a:rPr lang="tr-TR" sz="1600" dirty="0">
                <a:solidFill>
                  <a:schemeClr val="tx1"/>
                </a:solidFill>
              </a:rPr>
              <a:t>İdarenin yöneticileri iç kontrol sisteminin uygulanmasında personele örnek olmalıdır.</a:t>
            </a:r>
          </a:p>
        </p:txBody>
      </p:sp>
      <p:sp>
        <p:nvSpPr>
          <p:cNvPr id="32" name="Dikdörtgen: Yuvarlatılmış Köşeler 31">
            <a:extLst>
              <a:ext uri="{FF2B5EF4-FFF2-40B4-BE49-F238E27FC236}">
                <a16:creationId xmlns:a16="http://schemas.microsoft.com/office/drawing/2014/main" id="{4D28CAD3-A5B7-4BC1-A6B2-B2F4B374FEA6}"/>
              </a:ext>
            </a:extLst>
          </p:cNvPr>
          <p:cNvSpPr/>
          <p:nvPr/>
        </p:nvSpPr>
        <p:spPr>
          <a:xfrm>
            <a:off x="6387146" y="2260138"/>
            <a:ext cx="2095870" cy="2732883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tr-TR" sz="1400" b="1" u="sng" dirty="0">
                <a:solidFill>
                  <a:schemeClr val="tx1"/>
                </a:solidFill>
              </a:rPr>
              <a:t>EYLEM (E.1.2.1)</a:t>
            </a:r>
          </a:p>
          <a:p>
            <a:r>
              <a:rPr lang="tr-TR" sz="1600" dirty="0">
                <a:solidFill>
                  <a:schemeClr val="tx1"/>
                </a:solidFill>
              </a:rPr>
              <a:t>Harcama Birimi düzeyinde yönetici tarafından kurumsallaşma kapsamında personeli ile toplantı düzenlemesi</a:t>
            </a:r>
          </a:p>
        </p:txBody>
      </p:sp>
      <p:sp>
        <p:nvSpPr>
          <p:cNvPr id="33" name="Dikdörtgen: Yuvarlatılmış Köşeler 32">
            <a:extLst>
              <a:ext uri="{FF2B5EF4-FFF2-40B4-BE49-F238E27FC236}">
                <a16:creationId xmlns:a16="http://schemas.microsoft.com/office/drawing/2014/main" id="{C1C24B29-A7E8-4C4C-8904-AAB46B8C8673}"/>
              </a:ext>
            </a:extLst>
          </p:cNvPr>
          <p:cNvSpPr/>
          <p:nvPr/>
        </p:nvSpPr>
        <p:spPr>
          <a:xfrm>
            <a:off x="8932722" y="2257965"/>
            <a:ext cx="2167078" cy="2732883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>
                <a:solidFill>
                  <a:schemeClr val="tx1"/>
                </a:solidFill>
              </a:rPr>
              <a:t>Sorumlu Birim</a:t>
            </a:r>
          </a:p>
          <a:p>
            <a:r>
              <a:rPr lang="tr-TR" sz="1500" dirty="0">
                <a:solidFill>
                  <a:schemeClr val="bg1"/>
                </a:solidFill>
              </a:rPr>
              <a:t>Merkez Birimler/İl Sağlık Müdürlükleri</a:t>
            </a:r>
          </a:p>
          <a:p>
            <a:endParaRPr lang="tr-TR" sz="1500" dirty="0">
              <a:solidFill>
                <a:schemeClr val="bg1"/>
              </a:solidFill>
            </a:endParaRPr>
          </a:p>
          <a:p>
            <a:r>
              <a:rPr lang="tr-TR" sz="1400" b="1" u="sng" dirty="0">
                <a:solidFill>
                  <a:schemeClr val="tx1"/>
                </a:solidFill>
              </a:rPr>
              <a:t>Eylem Çıktısı</a:t>
            </a:r>
          </a:p>
          <a:p>
            <a:r>
              <a:rPr lang="tr-TR" sz="1500" dirty="0">
                <a:solidFill>
                  <a:schemeClr val="bg1"/>
                </a:solidFill>
              </a:rPr>
              <a:t>Toplantı Görselleri Katılımcı Listesi</a:t>
            </a:r>
          </a:p>
          <a:p>
            <a:endParaRPr lang="tr-TR" sz="1500" dirty="0">
              <a:solidFill>
                <a:schemeClr val="bg1"/>
              </a:solidFill>
            </a:endParaRPr>
          </a:p>
          <a:p>
            <a:r>
              <a:rPr lang="tr-TR" sz="1400" b="1" u="sng" dirty="0">
                <a:solidFill>
                  <a:schemeClr val="tx1"/>
                </a:solidFill>
              </a:rPr>
              <a:t>Eylem Dönemi</a:t>
            </a:r>
          </a:p>
          <a:p>
            <a:r>
              <a:rPr lang="tr-TR" sz="1500" dirty="0">
                <a:solidFill>
                  <a:schemeClr val="bg1"/>
                </a:solidFill>
              </a:rPr>
              <a:t>2. Çeyrek Dönem 2024</a:t>
            </a:r>
          </a:p>
        </p:txBody>
      </p:sp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3937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F9B20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7" name="Konuşma Balonu: Oval 6">
            <a:extLst>
              <a:ext uri="{FF2B5EF4-FFF2-40B4-BE49-F238E27FC236}">
                <a16:creationId xmlns:a16="http://schemas.microsoft.com/office/drawing/2014/main" id="{AD6722E1-43C7-4029-B712-FF661927ED82}"/>
              </a:ext>
            </a:extLst>
          </p:cNvPr>
          <p:cNvSpPr/>
          <p:nvPr/>
        </p:nvSpPr>
        <p:spPr>
          <a:xfrm>
            <a:off x="3511550" y="877749"/>
            <a:ext cx="5168900" cy="678670"/>
          </a:xfrm>
          <a:prstGeom prst="wedgeEllipseCallout">
            <a:avLst>
              <a:gd name="adj1" fmla="val 65901"/>
              <a:gd name="adj2" fmla="val 116769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bg1"/>
                </a:solidFill>
              </a:rPr>
              <a:t>KONTROL ORTAMI STANDARDI (KOS</a:t>
            </a:r>
            <a:r>
              <a:rPr lang="tr-TR" dirty="0"/>
              <a:t>)</a:t>
            </a:r>
          </a:p>
        </p:txBody>
      </p:sp>
      <p:sp>
        <p:nvSpPr>
          <p:cNvPr id="65" name="Serbest Form: Şekil 64">
            <a:extLst>
              <a:ext uri="{FF2B5EF4-FFF2-40B4-BE49-F238E27FC236}">
                <a16:creationId xmlns:a16="http://schemas.microsoft.com/office/drawing/2014/main" id="{179F2948-DDDD-4A51-810D-24FEE4A60903}"/>
              </a:ext>
            </a:extLst>
          </p:cNvPr>
          <p:cNvSpPr/>
          <p:nvPr/>
        </p:nvSpPr>
        <p:spPr>
          <a:xfrm>
            <a:off x="808177" y="2159000"/>
            <a:ext cx="26055484" cy="2956199"/>
          </a:xfrm>
          <a:custGeom>
            <a:avLst/>
            <a:gdLst>
              <a:gd name="connsiteX0" fmla="*/ 766505 w 26055484"/>
              <a:gd name="connsiteY0" fmla="*/ 93541 h 2926666"/>
              <a:gd name="connsiteX1" fmla="*/ 311015 w 26055484"/>
              <a:gd name="connsiteY1" fmla="*/ 549031 h 2926666"/>
              <a:gd name="connsiteX2" fmla="*/ 311015 w 26055484"/>
              <a:gd name="connsiteY2" fmla="*/ 2370934 h 2926666"/>
              <a:gd name="connsiteX3" fmla="*/ 766505 w 26055484"/>
              <a:gd name="connsiteY3" fmla="*/ 2826424 h 2926666"/>
              <a:gd name="connsiteX4" fmla="*/ 9831510 w 26055484"/>
              <a:gd name="connsiteY4" fmla="*/ 2826424 h 2926666"/>
              <a:gd name="connsiteX5" fmla="*/ 10287000 w 26055484"/>
              <a:gd name="connsiteY5" fmla="*/ 2370934 h 2926666"/>
              <a:gd name="connsiteX6" fmla="*/ 10287000 w 26055484"/>
              <a:gd name="connsiteY6" fmla="*/ 549031 h 2926666"/>
              <a:gd name="connsiteX7" fmla="*/ 9831510 w 26055484"/>
              <a:gd name="connsiteY7" fmla="*/ 93541 h 2926666"/>
              <a:gd name="connsiteX8" fmla="*/ 0 w 26055484"/>
              <a:gd name="connsiteY8" fmla="*/ 0 h 2926666"/>
              <a:gd name="connsiteX9" fmla="*/ 26055484 w 26055484"/>
              <a:gd name="connsiteY9" fmla="*/ 0 h 2926666"/>
              <a:gd name="connsiteX10" fmla="*/ 26055484 w 26055484"/>
              <a:gd name="connsiteY10" fmla="*/ 2926666 h 2926666"/>
              <a:gd name="connsiteX11" fmla="*/ 0 w 26055484"/>
              <a:gd name="connsiteY11" fmla="*/ 2926666 h 2926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55484" h="2926666">
                <a:moveTo>
                  <a:pt x="766505" y="93541"/>
                </a:moveTo>
                <a:cubicBezTo>
                  <a:pt x="514945" y="93541"/>
                  <a:pt x="311015" y="297471"/>
                  <a:pt x="311015" y="549031"/>
                </a:cubicBezTo>
                <a:lnTo>
                  <a:pt x="311015" y="2370934"/>
                </a:lnTo>
                <a:cubicBezTo>
                  <a:pt x="311015" y="2622494"/>
                  <a:pt x="514945" y="2826424"/>
                  <a:pt x="766505" y="2826424"/>
                </a:cubicBezTo>
                <a:lnTo>
                  <a:pt x="9831510" y="2826424"/>
                </a:lnTo>
                <a:cubicBezTo>
                  <a:pt x="10083070" y="2826424"/>
                  <a:pt x="10287000" y="2622494"/>
                  <a:pt x="10287000" y="2370934"/>
                </a:cubicBezTo>
                <a:lnTo>
                  <a:pt x="10287000" y="549031"/>
                </a:lnTo>
                <a:cubicBezTo>
                  <a:pt x="10287000" y="297471"/>
                  <a:pt x="10083070" y="93541"/>
                  <a:pt x="9831510" y="93541"/>
                </a:cubicBezTo>
                <a:close/>
                <a:moveTo>
                  <a:pt x="0" y="0"/>
                </a:moveTo>
                <a:lnTo>
                  <a:pt x="26055484" y="0"/>
                </a:lnTo>
                <a:lnTo>
                  <a:pt x="26055484" y="2926666"/>
                </a:lnTo>
                <a:lnTo>
                  <a:pt x="0" y="2926666"/>
                </a:lnTo>
                <a:close/>
              </a:path>
            </a:pathLst>
          </a:custGeom>
          <a:solidFill>
            <a:srgbClr val="CFD2D9"/>
          </a:solidFill>
          <a:ln>
            <a:solidFill>
              <a:srgbClr val="CFD2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0434411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304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029CE341-7E23-470B-9009-55291B91343E}"/>
              </a:ext>
            </a:extLst>
          </p:cNvPr>
          <p:cNvSpPr/>
          <p:nvPr/>
        </p:nvSpPr>
        <p:spPr>
          <a:xfrm>
            <a:off x="9687100" y="2324100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Isosceles Triangle 24">
            <a:extLst>
              <a:ext uri="{FF2B5EF4-FFF2-40B4-BE49-F238E27FC236}">
                <a16:creationId xmlns:a16="http://schemas.microsoft.com/office/drawing/2014/main" id="{1E9BBC81-4F3E-48EC-9C44-00EAE03D08A7}"/>
              </a:ext>
            </a:extLst>
          </p:cNvPr>
          <p:cNvSpPr/>
          <p:nvPr/>
        </p:nvSpPr>
        <p:spPr>
          <a:xfrm rot="10800000">
            <a:off x="1921191" y="3265022"/>
            <a:ext cx="532959" cy="402681"/>
          </a:xfrm>
          <a:prstGeom prst="triangle">
            <a:avLst/>
          </a:prstGeom>
          <a:solidFill>
            <a:srgbClr val="F9B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27B5FEFB-DA28-4D93-A21A-C3BC115CE732}"/>
              </a:ext>
            </a:extLst>
          </p:cNvPr>
          <p:cNvSpPr/>
          <p:nvPr/>
        </p:nvSpPr>
        <p:spPr>
          <a:xfrm>
            <a:off x="8137306" y="2133600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DB5267D2-793F-4B81-9E57-EE8002D0EE95}"/>
              </a:ext>
            </a:extLst>
          </p:cNvPr>
          <p:cNvSpPr/>
          <p:nvPr/>
        </p:nvSpPr>
        <p:spPr>
          <a:xfrm>
            <a:off x="6483875" y="1943100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460DD923-4D56-4D56-9A43-9002F1E59B41}"/>
              </a:ext>
            </a:extLst>
          </p:cNvPr>
          <p:cNvSpPr/>
          <p:nvPr/>
        </p:nvSpPr>
        <p:spPr>
          <a:xfrm>
            <a:off x="4960638" y="1752600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2318266-F8D4-4374-A1F0-188A706DFB37}"/>
              </a:ext>
            </a:extLst>
          </p:cNvPr>
          <p:cNvSpPr/>
          <p:nvPr/>
        </p:nvSpPr>
        <p:spPr>
          <a:xfrm>
            <a:off x="3509507" y="1549400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Dikdörtgen: Yuvarlatılmış Köşeler 36">
            <a:extLst>
              <a:ext uri="{FF2B5EF4-FFF2-40B4-BE49-F238E27FC236}">
                <a16:creationId xmlns:a16="http://schemas.microsoft.com/office/drawing/2014/main" id="{2FA1E659-70BD-43BA-809D-50BEBF462150}"/>
              </a:ext>
            </a:extLst>
          </p:cNvPr>
          <p:cNvSpPr/>
          <p:nvPr/>
        </p:nvSpPr>
        <p:spPr>
          <a:xfrm>
            <a:off x="25400" y="3757737"/>
            <a:ext cx="4207155" cy="1218543"/>
          </a:xfrm>
          <a:prstGeom prst="roundRect">
            <a:avLst/>
          </a:prstGeom>
          <a:solidFill>
            <a:srgbClr val="F9B201"/>
          </a:solidFill>
          <a:ln>
            <a:solidFill>
              <a:srgbClr val="F9B2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u="sng" dirty="0">
                <a:solidFill>
                  <a:schemeClr val="tx1"/>
                </a:solidFill>
              </a:rPr>
              <a:t>(KOS)-1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Etik Değerler ve Dürüstlük: Personel davranışlarını belirleyen kuralların personel tarafından bilinmesi sağlanmalıdır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8EDA35C-8544-4A22-9D6C-3346DA0A9F57}"/>
              </a:ext>
            </a:extLst>
          </p:cNvPr>
          <p:cNvSpPr/>
          <p:nvPr/>
        </p:nvSpPr>
        <p:spPr>
          <a:xfrm>
            <a:off x="986530" y="800100"/>
            <a:ext cx="2508285" cy="2234121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800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0" name="Konuşma Balonu: Oval 39">
            <a:extLst>
              <a:ext uri="{FF2B5EF4-FFF2-40B4-BE49-F238E27FC236}">
                <a16:creationId xmlns:a16="http://schemas.microsoft.com/office/drawing/2014/main" id="{D6294F0D-92BE-4604-9DC3-3A16E5B69DA7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8445367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304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78032C70-2DC1-4EE2-B53E-043B48CF576B}"/>
              </a:ext>
            </a:extLst>
          </p:cNvPr>
          <p:cNvSpPr/>
          <p:nvPr/>
        </p:nvSpPr>
        <p:spPr>
          <a:xfrm>
            <a:off x="9747083" y="2898249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Isosceles Triangle 24">
            <a:extLst>
              <a:ext uri="{FF2B5EF4-FFF2-40B4-BE49-F238E27FC236}">
                <a16:creationId xmlns:a16="http://schemas.microsoft.com/office/drawing/2014/main" id="{7BEF846B-EE81-4F2E-AEFE-E9B52569E4FA}"/>
              </a:ext>
            </a:extLst>
          </p:cNvPr>
          <p:cNvSpPr/>
          <p:nvPr/>
        </p:nvSpPr>
        <p:spPr>
          <a:xfrm rot="10800000">
            <a:off x="3596691" y="3304225"/>
            <a:ext cx="532959" cy="402681"/>
          </a:xfrm>
          <a:prstGeom prst="triangle">
            <a:avLst/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50512024-F9B5-4585-A3FD-4FD13BC99ABA}"/>
              </a:ext>
            </a:extLst>
          </p:cNvPr>
          <p:cNvSpPr/>
          <p:nvPr/>
        </p:nvSpPr>
        <p:spPr>
          <a:xfrm>
            <a:off x="8237550" y="2254309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B775D81-8916-46A4-8EEE-35EAEDB789F4}"/>
              </a:ext>
            </a:extLst>
          </p:cNvPr>
          <p:cNvSpPr/>
          <p:nvPr/>
        </p:nvSpPr>
        <p:spPr>
          <a:xfrm>
            <a:off x="6734372" y="1536581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F577AC9D-F0DC-482C-9DB6-C88CAE8BC1A5}"/>
              </a:ext>
            </a:extLst>
          </p:cNvPr>
          <p:cNvSpPr/>
          <p:nvPr/>
        </p:nvSpPr>
        <p:spPr>
          <a:xfrm>
            <a:off x="5153307" y="1120952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863E61CB-CA88-4DEF-ABBA-8A38EB443B0E}"/>
              </a:ext>
            </a:extLst>
          </p:cNvPr>
          <p:cNvSpPr/>
          <p:nvPr/>
        </p:nvSpPr>
        <p:spPr>
          <a:xfrm>
            <a:off x="2626450" y="814997"/>
            <a:ext cx="2509200" cy="22356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2000" b="1" dirty="0">
                <a:solidFill>
                  <a:schemeClr val="tx1"/>
                </a:solidFill>
              </a:rPr>
              <a:t>GENEL ŞART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41" name="Dikdörtgen: Yuvarlatılmış Köşeler 40">
            <a:extLst>
              <a:ext uri="{FF2B5EF4-FFF2-40B4-BE49-F238E27FC236}">
                <a16:creationId xmlns:a16="http://schemas.microsoft.com/office/drawing/2014/main" id="{5136D66F-EDFC-44C0-AEA8-B937FD694FBB}"/>
              </a:ext>
            </a:extLst>
          </p:cNvPr>
          <p:cNvSpPr/>
          <p:nvPr/>
        </p:nvSpPr>
        <p:spPr>
          <a:xfrm>
            <a:off x="2222159" y="3766401"/>
            <a:ext cx="3317782" cy="1242446"/>
          </a:xfrm>
          <a:prstGeom prst="round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u="sng" dirty="0">
                <a:solidFill>
                  <a:schemeClr val="tx1"/>
                </a:solidFill>
              </a:rPr>
              <a:t>KOS 1.3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Etik kurallar bilinmeli ve tüm faaliyetlerde bu kurallara uyulmalıdır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F05FCD9A-D0D9-460E-8F0C-BD86835CB184}"/>
              </a:ext>
            </a:extLst>
          </p:cNvPr>
          <p:cNvSpPr/>
          <p:nvPr/>
        </p:nvSpPr>
        <p:spPr>
          <a:xfrm>
            <a:off x="968602" y="1592547"/>
            <a:ext cx="1720353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3" name="Konuşma Balonu: Oval 42">
            <a:extLst>
              <a:ext uri="{FF2B5EF4-FFF2-40B4-BE49-F238E27FC236}">
                <a16:creationId xmlns:a16="http://schemas.microsoft.com/office/drawing/2014/main" id="{8E2535C0-7179-44CA-BD28-4AEC5D674EC3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76799274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060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 5">
            <a:extLst>
              <a:ext uri="{FF2B5EF4-FFF2-40B4-BE49-F238E27FC236}">
                <a16:creationId xmlns:a16="http://schemas.microsoft.com/office/drawing/2014/main" id="{465AFCA6-552C-4CFA-B265-90CD3FD2B428}"/>
              </a:ext>
            </a:extLst>
          </p:cNvPr>
          <p:cNvGrpSpPr/>
          <p:nvPr/>
        </p:nvGrpSpPr>
        <p:grpSpPr>
          <a:xfrm>
            <a:off x="-1930400" y="5323933"/>
            <a:ext cx="12192000" cy="956220"/>
            <a:chOff x="-393700" y="5316151"/>
            <a:chExt cx="12192000" cy="1285400"/>
          </a:xfrm>
        </p:grpSpPr>
        <p:grpSp>
          <p:nvGrpSpPr>
            <p:cNvPr id="2" name="Grup 1">
              <a:extLst>
                <a:ext uri="{FF2B5EF4-FFF2-40B4-BE49-F238E27FC236}">
                  <a16:creationId xmlns:a16="http://schemas.microsoft.com/office/drawing/2014/main" id="{199133BE-9F95-4AC6-A92C-BDC7275CF7B4}"/>
                </a:ext>
              </a:extLst>
            </p:cNvPr>
            <p:cNvGrpSpPr/>
            <p:nvPr/>
          </p:nvGrpSpPr>
          <p:grpSpPr>
            <a:xfrm>
              <a:off x="-393700" y="5316151"/>
              <a:ext cx="12192000" cy="1285400"/>
              <a:chOff x="0" y="5328851"/>
              <a:chExt cx="12192000" cy="1285400"/>
            </a:xfrm>
          </p:grpSpPr>
          <p:sp>
            <p:nvSpPr>
              <p:cNvPr id="3" name="Dikdörtgen 2">
                <a:extLst>
                  <a:ext uri="{FF2B5EF4-FFF2-40B4-BE49-F238E27FC236}">
                    <a16:creationId xmlns:a16="http://schemas.microsoft.com/office/drawing/2014/main" id="{6E2ED7A2-B113-43DE-9DDC-5099CD638D80}"/>
                  </a:ext>
                </a:extLst>
              </p:cNvPr>
              <p:cNvSpPr/>
              <p:nvPr/>
            </p:nvSpPr>
            <p:spPr>
              <a:xfrm>
                <a:off x="0" y="5532770"/>
                <a:ext cx="12192000" cy="912303"/>
              </a:xfrm>
              <a:prstGeom prst="rect">
                <a:avLst/>
              </a:prstGeom>
              <a:solidFill>
                <a:schemeClr val="accent5">
                  <a:lumMod val="5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A08D6500-CEF8-4D86-BDB6-47F016DBD6CB}"/>
                  </a:ext>
                </a:extLst>
              </p:cNvPr>
              <p:cNvSpPr/>
              <p:nvPr/>
            </p:nvSpPr>
            <p:spPr>
              <a:xfrm>
                <a:off x="685800" y="5332474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tr-TR" b="1" dirty="0">
                    <a:solidFill>
                      <a:schemeClr val="tx1"/>
                    </a:solidFill>
                  </a:rPr>
                  <a:t>E.1.2.1</a:t>
                </a: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D45DC8DF-FD97-44A6-A978-58FBFA3D08C4}"/>
                  </a:ext>
                </a:extLst>
              </p:cNvPr>
              <p:cNvSpPr/>
              <p:nvPr/>
            </p:nvSpPr>
            <p:spPr>
              <a:xfrm>
                <a:off x="222020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 b="1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4E853EBE-4846-4BE2-949C-095726CA1630}"/>
                  </a:ext>
                </a:extLst>
              </p:cNvPr>
              <p:cNvSpPr/>
              <p:nvPr/>
            </p:nvSpPr>
            <p:spPr>
              <a:xfrm>
                <a:off x="3754600" y="53542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473A6C7B-FC99-4FAE-BF24-DEC972C611BC}"/>
                  </a:ext>
                </a:extLst>
              </p:cNvPr>
              <p:cNvSpPr/>
              <p:nvPr/>
            </p:nvSpPr>
            <p:spPr>
              <a:xfrm>
                <a:off x="5336150" y="5328851"/>
                <a:ext cx="1260000" cy="1260000"/>
              </a:xfrm>
              <a:prstGeom prst="ellipse">
                <a:avLst/>
              </a:prstGeom>
              <a:solidFill>
                <a:srgbClr val="00B0F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5CD840F6-B941-427E-8226-4B2FA4727BD1}"/>
                  </a:ext>
                </a:extLst>
              </p:cNvPr>
              <p:cNvSpPr/>
              <p:nvPr/>
            </p:nvSpPr>
            <p:spPr>
              <a:xfrm>
                <a:off x="6892300" y="5341551"/>
                <a:ext cx="1260000" cy="1260000"/>
              </a:xfrm>
              <a:prstGeom prst="ellipse">
                <a:avLst/>
              </a:prstGeom>
              <a:solidFill>
                <a:srgbClr val="9E2225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9B8E3693-0CF3-4BCE-B53A-F8FE905A77E3}"/>
                  </a:ext>
                </a:extLst>
              </p:cNvPr>
              <p:cNvSpPr/>
              <p:nvPr/>
            </p:nvSpPr>
            <p:spPr>
              <a:xfrm>
                <a:off x="846115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6D627949-EA6A-495E-B9DE-ECA8E14060AD}"/>
                  </a:ext>
                </a:extLst>
              </p:cNvPr>
              <p:cNvSpPr/>
              <p:nvPr/>
            </p:nvSpPr>
            <p:spPr>
              <a:xfrm>
                <a:off x="10030000" y="5328851"/>
                <a:ext cx="1260000" cy="1260000"/>
              </a:xfrm>
              <a:prstGeom prst="ellipse">
                <a:avLst/>
              </a:prstGeom>
              <a:solidFill>
                <a:srgbClr val="F19417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tr-TR"/>
              </a:p>
            </p:txBody>
          </p:sp>
        </p:grpSp>
        <p:sp>
          <p:nvSpPr>
            <p:cNvPr id="5" name="Dikdörtgen 4">
              <a:extLst>
                <a:ext uri="{FF2B5EF4-FFF2-40B4-BE49-F238E27FC236}">
                  <a16:creationId xmlns:a16="http://schemas.microsoft.com/office/drawing/2014/main" id="{2747453B-3FE6-4FD9-AA73-A0EDE8FA3372}"/>
                </a:ext>
              </a:extLst>
            </p:cNvPr>
            <p:cNvSpPr/>
            <p:nvPr/>
          </p:nvSpPr>
          <p:spPr>
            <a:xfrm>
              <a:off x="2041162" y="5761172"/>
              <a:ext cx="830676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1.3.2</a:t>
              </a:r>
            </a:p>
          </p:txBody>
        </p:sp>
        <p:sp>
          <p:nvSpPr>
            <p:cNvPr id="19" name="Dikdörtgen 18">
              <a:extLst>
                <a:ext uri="{FF2B5EF4-FFF2-40B4-BE49-F238E27FC236}">
                  <a16:creationId xmlns:a16="http://schemas.microsoft.com/office/drawing/2014/main" id="{CA448C0A-6CDD-4E84-9202-7C4A9D803E72}"/>
                </a:ext>
              </a:extLst>
            </p:cNvPr>
            <p:cNvSpPr/>
            <p:nvPr/>
          </p:nvSpPr>
          <p:spPr>
            <a:xfrm>
              <a:off x="3575561" y="5752787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4.1</a:t>
              </a:r>
            </a:p>
          </p:txBody>
        </p:sp>
        <p:sp>
          <p:nvSpPr>
            <p:cNvPr id="20" name="Dikdörtgen 19">
              <a:extLst>
                <a:ext uri="{FF2B5EF4-FFF2-40B4-BE49-F238E27FC236}">
                  <a16:creationId xmlns:a16="http://schemas.microsoft.com/office/drawing/2014/main" id="{0349E2A7-ED06-445E-AAAB-A8CCDD9E8D63}"/>
                </a:ext>
              </a:extLst>
            </p:cNvPr>
            <p:cNvSpPr/>
            <p:nvPr/>
          </p:nvSpPr>
          <p:spPr>
            <a:xfrm>
              <a:off x="5157112" y="5804255"/>
              <a:ext cx="830677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tx1"/>
                  </a:solidFill>
                </a:rPr>
                <a:t>E.2.7.1</a:t>
              </a:r>
            </a:p>
          </p:txBody>
        </p:sp>
        <p:sp>
          <p:nvSpPr>
            <p:cNvPr id="21" name="Dikdörtgen 20">
              <a:extLst>
                <a:ext uri="{FF2B5EF4-FFF2-40B4-BE49-F238E27FC236}">
                  <a16:creationId xmlns:a16="http://schemas.microsoft.com/office/drawing/2014/main" id="{F58A8C0B-975E-4135-8A37-E7717D4FFA5A}"/>
                </a:ext>
              </a:extLst>
            </p:cNvPr>
            <p:cNvSpPr/>
            <p:nvPr/>
          </p:nvSpPr>
          <p:spPr>
            <a:xfrm>
              <a:off x="6654753" y="58503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2.2.1</a:t>
              </a:r>
            </a:p>
          </p:txBody>
        </p:sp>
        <p:sp>
          <p:nvSpPr>
            <p:cNvPr id="22" name="Dikdörtgen 21">
              <a:extLst>
                <a:ext uri="{FF2B5EF4-FFF2-40B4-BE49-F238E27FC236}">
                  <a16:creationId xmlns:a16="http://schemas.microsoft.com/office/drawing/2014/main" id="{36A33AF5-40BC-4444-8D41-B2659C3947F4}"/>
                </a:ext>
              </a:extLst>
            </p:cNvPr>
            <p:cNvSpPr/>
            <p:nvPr/>
          </p:nvSpPr>
          <p:spPr>
            <a:xfrm>
              <a:off x="822360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3.7.2</a:t>
              </a:r>
            </a:p>
          </p:txBody>
        </p:sp>
        <p:sp>
          <p:nvSpPr>
            <p:cNvPr id="23" name="Dikdörtgen 22">
              <a:extLst>
                <a:ext uri="{FF2B5EF4-FFF2-40B4-BE49-F238E27FC236}">
                  <a16:creationId xmlns:a16="http://schemas.microsoft.com/office/drawing/2014/main" id="{E3A0D3D7-BE1A-4204-B5F2-19A86EF61F03}"/>
                </a:ext>
              </a:extLst>
            </p:cNvPr>
            <p:cNvSpPr/>
            <p:nvPr/>
          </p:nvSpPr>
          <p:spPr>
            <a:xfrm>
              <a:off x="9792452" y="5837685"/>
              <a:ext cx="94769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r-TR" b="1" dirty="0">
                  <a:solidFill>
                    <a:schemeClr val="bg1"/>
                  </a:solidFill>
                </a:rPr>
                <a:t>E.15.3.2</a:t>
              </a:r>
            </a:p>
          </p:txBody>
        </p:sp>
      </p:grpSp>
      <p:grpSp>
        <p:nvGrpSpPr>
          <p:cNvPr id="4" name="Grup 3">
            <a:extLst>
              <a:ext uri="{FF2B5EF4-FFF2-40B4-BE49-F238E27FC236}">
                <a16:creationId xmlns:a16="http://schemas.microsoft.com/office/drawing/2014/main" id="{33C36809-83CB-4203-8269-D0063FC39616}"/>
              </a:ext>
            </a:extLst>
          </p:cNvPr>
          <p:cNvGrpSpPr/>
          <p:nvPr/>
        </p:nvGrpSpPr>
        <p:grpSpPr>
          <a:xfrm>
            <a:off x="0" y="5105400"/>
            <a:ext cx="12192000" cy="1358900"/>
            <a:chOff x="0" y="2446671"/>
            <a:chExt cx="12192000" cy="1826703"/>
          </a:xfrm>
        </p:grpSpPr>
        <p:sp>
          <p:nvSpPr>
            <p:cNvPr id="10" name="Serbest Form: Şekil 9">
              <a:extLst>
                <a:ext uri="{FF2B5EF4-FFF2-40B4-BE49-F238E27FC236}">
                  <a16:creationId xmlns:a16="http://schemas.microsoft.com/office/drawing/2014/main" id="{4D359CFF-DF51-4FB7-BCE1-6C14013CC8CF}"/>
                </a:ext>
              </a:extLst>
            </p:cNvPr>
            <p:cNvSpPr/>
            <p:nvPr/>
          </p:nvSpPr>
          <p:spPr>
            <a:xfrm>
              <a:off x="0" y="24466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12" name="Serbest Form: Şekil 11">
              <a:extLst>
                <a:ext uri="{FF2B5EF4-FFF2-40B4-BE49-F238E27FC236}">
                  <a16:creationId xmlns:a16="http://schemas.microsoft.com/office/drawing/2014/main" id="{3EC7BA05-FD6D-4420-B18D-8931258CCA2A}"/>
                </a:ext>
              </a:extLst>
            </p:cNvPr>
            <p:cNvSpPr/>
            <p:nvPr/>
          </p:nvSpPr>
          <p:spPr>
            <a:xfrm flipV="1">
              <a:off x="0" y="3361071"/>
              <a:ext cx="12192000" cy="912303"/>
            </a:xfrm>
            <a:custGeom>
              <a:avLst/>
              <a:gdLst>
                <a:gd name="connsiteX0" fmla="*/ 0 w 12192000"/>
                <a:gd name="connsiteY0" fmla="*/ 0 h 912303"/>
                <a:gd name="connsiteX1" fmla="*/ 12192000 w 12192000"/>
                <a:gd name="connsiteY1" fmla="*/ 0 h 912303"/>
                <a:gd name="connsiteX2" fmla="*/ 12192000 w 12192000"/>
                <a:gd name="connsiteY2" fmla="*/ 912303 h 912303"/>
                <a:gd name="connsiteX3" fmla="*/ 1640944 w 12192000"/>
                <a:gd name="connsiteY3" fmla="*/ 912303 h 912303"/>
                <a:gd name="connsiteX4" fmla="*/ 1626708 w 12192000"/>
                <a:gd name="connsiteY4" fmla="*/ 771854 h 912303"/>
                <a:gd name="connsiteX5" fmla="*/ 921336 w 12192000"/>
                <a:gd name="connsiteY5" fmla="*/ 200052 h 912303"/>
                <a:gd name="connsiteX6" fmla="*/ 215964 w 12192000"/>
                <a:gd name="connsiteY6" fmla="*/ 771854 h 912303"/>
                <a:gd name="connsiteX7" fmla="*/ 201729 w 12192000"/>
                <a:gd name="connsiteY7" fmla="*/ 912303 h 912303"/>
                <a:gd name="connsiteX8" fmla="*/ 0 w 12192000"/>
                <a:gd name="connsiteY8" fmla="*/ 912303 h 912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192000" h="912303">
                  <a:moveTo>
                    <a:pt x="0" y="0"/>
                  </a:moveTo>
                  <a:lnTo>
                    <a:pt x="12192000" y="0"/>
                  </a:lnTo>
                  <a:lnTo>
                    <a:pt x="12192000" y="912303"/>
                  </a:lnTo>
                  <a:lnTo>
                    <a:pt x="1640944" y="912303"/>
                  </a:lnTo>
                  <a:lnTo>
                    <a:pt x="1626708" y="771854"/>
                  </a:lnTo>
                  <a:cubicBezTo>
                    <a:pt x="1559571" y="445528"/>
                    <a:pt x="1269276" y="200052"/>
                    <a:pt x="921336" y="200052"/>
                  </a:cubicBezTo>
                  <a:cubicBezTo>
                    <a:pt x="573397" y="200052"/>
                    <a:pt x="283101" y="445528"/>
                    <a:pt x="215964" y="771854"/>
                  </a:cubicBezTo>
                  <a:lnTo>
                    <a:pt x="201729" y="912303"/>
                  </a:lnTo>
                  <a:lnTo>
                    <a:pt x="0" y="912303"/>
                  </a:lnTo>
                  <a:close/>
                </a:path>
              </a:pathLst>
            </a:custGeom>
            <a:ln>
              <a:solidFill>
                <a:srgbClr val="4472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</p:grpSp>
      <p:sp>
        <p:nvSpPr>
          <p:cNvPr id="30" name="Oval 29">
            <a:extLst>
              <a:ext uri="{FF2B5EF4-FFF2-40B4-BE49-F238E27FC236}">
                <a16:creationId xmlns:a16="http://schemas.microsoft.com/office/drawing/2014/main" id="{172AEE62-ED32-473C-98CD-5A7421151261}"/>
              </a:ext>
            </a:extLst>
          </p:cNvPr>
          <p:cNvSpPr/>
          <p:nvPr/>
        </p:nvSpPr>
        <p:spPr>
          <a:xfrm>
            <a:off x="9794179" y="3110678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00B0F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Isosceles Triangle 24">
            <a:extLst>
              <a:ext uri="{FF2B5EF4-FFF2-40B4-BE49-F238E27FC236}">
                <a16:creationId xmlns:a16="http://schemas.microsoft.com/office/drawing/2014/main" id="{0DD5C836-D445-4B87-B601-5BB889EEFB7A}"/>
              </a:ext>
            </a:extLst>
          </p:cNvPr>
          <p:cNvSpPr/>
          <p:nvPr/>
        </p:nvSpPr>
        <p:spPr>
          <a:xfrm rot="10800000">
            <a:off x="5338850" y="3483821"/>
            <a:ext cx="532959" cy="402681"/>
          </a:xfrm>
          <a:prstGeom prst="triangle">
            <a:avLst/>
          </a:prstGeom>
          <a:solidFill>
            <a:srgbClr val="B72F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7A422EB2-FAC3-443D-A017-E2B352F6765D}"/>
              </a:ext>
            </a:extLst>
          </p:cNvPr>
          <p:cNvSpPr/>
          <p:nvPr/>
        </p:nvSpPr>
        <p:spPr>
          <a:xfrm>
            <a:off x="8385299" y="2194479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D800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0062DC92-091C-4131-908E-F626296DF48B}"/>
              </a:ext>
            </a:extLst>
          </p:cNvPr>
          <p:cNvSpPr/>
          <p:nvPr/>
        </p:nvSpPr>
        <p:spPr>
          <a:xfrm>
            <a:off x="6851211" y="1501634"/>
            <a:ext cx="1653431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6018154E-2E6E-4A80-99BD-1FC2B08DB033}"/>
              </a:ext>
            </a:extLst>
          </p:cNvPr>
          <p:cNvSpPr/>
          <p:nvPr/>
        </p:nvSpPr>
        <p:spPr>
          <a:xfrm>
            <a:off x="4385800" y="995972"/>
            <a:ext cx="2509200" cy="22356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B72F9A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b="1" dirty="0">
                <a:solidFill>
                  <a:schemeClr val="tx1"/>
                </a:solidFill>
              </a:rPr>
              <a:t>     </a:t>
            </a:r>
            <a:r>
              <a:rPr lang="tr-TR" sz="2800" b="1" dirty="0">
                <a:solidFill>
                  <a:schemeClr val="tx1"/>
                </a:solidFill>
              </a:rPr>
              <a:t>EYLEM</a:t>
            </a:r>
            <a:endParaRPr lang="tr-TR" b="1" dirty="0">
              <a:solidFill>
                <a:schemeClr val="tx1"/>
              </a:solidFill>
            </a:endParaRP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7F909F9F-736B-42C3-8D42-8FBE3DD2B28D}"/>
              </a:ext>
            </a:extLst>
          </p:cNvPr>
          <p:cNvSpPr/>
          <p:nvPr/>
        </p:nvSpPr>
        <p:spPr>
          <a:xfrm>
            <a:off x="2776158" y="1372732"/>
            <a:ext cx="1720800" cy="1717200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600" b="1" dirty="0">
                <a:solidFill>
                  <a:schemeClr val="tx1"/>
                </a:solidFill>
              </a:rPr>
              <a:t>GENEL ŞART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4E0F95DA-2879-4041-B561-6B2165F8DD75}"/>
              </a:ext>
            </a:extLst>
          </p:cNvPr>
          <p:cNvSpPr/>
          <p:nvPr/>
        </p:nvSpPr>
        <p:spPr>
          <a:xfrm>
            <a:off x="1171095" y="1987794"/>
            <a:ext cx="1720353" cy="1717734"/>
          </a:xfrm>
          <a:prstGeom prst="ellipse">
            <a:avLst/>
          </a:prstGeom>
          <a:solidFill>
            <a:schemeClr val="bg1">
              <a:alpha val="62000"/>
            </a:schemeClr>
          </a:solidFill>
          <a:ln w="317500">
            <a:solidFill>
              <a:srgbClr val="F9B20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b="1" dirty="0">
                <a:solidFill>
                  <a:schemeClr val="tx1"/>
                </a:solidFill>
              </a:rPr>
              <a:t>STANDART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44" name="Dikdörtgen: Yuvarlatılmış Köşeler 43">
            <a:extLst>
              <a:ext uri="{FF2B5EF4-FFF2-40B4-BE49-F238E27FC236}">
                <a16:creationId xmlns:a16="http://schemas.microsoft.com/office/drawing/2014/main" id="{F1F47CD0-5C14-4321-8972-29FEF586AA36}"/>
              </a:ext>
            </a:extLst>
          </p:cNvPr>
          <p:cNvSpPr/>
          <p:nvPr/>
        </p:nvSpPr>
        <p:spPr>
          <a:xfrm>
            <a:off x="3474900" y="3978585"/>
            <a:ext cx="4632505" cy="1048857"/>
          </a:xfrm>
          <a:prstGeom prst="roundRect">
            <a:avLst/>
          </a:prstGeom>
          <a:solidFill>
            <a:srgbClr val="B72F9A"/>
          </a:solidFill>
          <a:ln>
            <a:solidFill>
              <a:srgbClr val="B72F9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tr-TR" sz="1400" b="1" u="sng" dirty="0">
                <a:solidFill>
                  <a:schemeClr val="tx1"/>
                </a:solidFill>
              </a:rPr>
              <a:t>E.1.3.2</a:t>
            </a:r>
          </a:p>
          <a:p>
            <a:r>
              <a:rPr lang="tr-TR" sz="1400" b="1" dirty="0">
                <a:solidFill>
                  <a:schemeClr val="bg1"/>
                </a:solidFill>
              </a:rPr>
              <a:t>Harcama Birimi düzeyinde Etik Davranış İlkeleri doğrultusunda "Etik Slogan (Mesaj)" belirlenerek tüm personele resmi yazı / e-Posta olarak gönderilmesi.</a:t>
            </a:r>
          </a:p>
        </p:txBody>
      </p:sp>
      <p:sp>
        <p:nvSpPr>
          <p:cNvPr id="45" name="Konuşma Balonu: Oval 44">
            <a:extLst>
              <a:ext uri="{FF2B5EF4-FFF2-40B4-BE49-F238E27FC236}">
                <a16:creationId xmlns:a16="http://schemas.microsoft.com/office/drawing/2014/main" id="{150AA961-79B3-43BC-86CB-19A9B3D4C115}"/>
              </a:ext>
            </a:extLst>
          </p:cNvPr>
          <p:cNvSpPr/>
          <p:nvPr/>
        </p:nvSpPr>
        <p:spPr>
          <a:xfrm>
            <a:off x="3787382" y="318520"/>
            <a:ext cx="4617236" cy="461626"/>
          </a:xfrm>
          <a:prstGeom prst="wedgeEllipseCallout">
            <a:avLst>
              <a:gd name="adj1" fmla="val 24439"/>
              <a:gd name="adj2" fmla="val 4285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tr-TR" sz="1600" b="1" dirty="0">
                <a:solidFill>
                  <a:schemeClr val="bg1"/>
                </a:solidFill>
              </a:rPr>
              <a:t>KONTROL ORTAMI STANDARDI (KOS</a:t>
            </a:r>
            <a:r>
              <a:rPr lang="tr-T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5707043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Belge" ma:contentTypeID="0x010100531DB61A35F6CD46B2A9CB1E0125EB9E" ma:contentTypeVersion="1" ma:contentTypeDescription="Yeni belge oluşturun." ma:contentTypeScope="" ma:versionID="58d1ec36a7a72bd1954e1e448aa54405">
  <xsd:schema xmlns:xsd="http://www.w3.org/2001/XMLSchema" xmlns:xs="http://www.w3.org/2001/XMLSchema" xmlns:p="http://schemas.microsoft.com/office/2006/metadata/properties" xmlns:ns2="9c6d2fee-6584-45c2-9ea3-7ef256f35574" targetNamespace="http://schemas.microsoft.com/office/2006/metadata/properties" ma:root="true" ma:fieldsID="17c74639cf5456367f0fa883482200e7" ns2:_="">
    <xsd:import namespace="9c6d2fee-6584-45c2-9ea3-7ef256f35574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6d2fee-6584-45c2-9ea3-7ef256f35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Paylaşılanla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İçerik Türü"/>
        <xsd:element ref="dc:title" minOccurs="0" maxOccurs="1" ma:index="4" ma:displayName="Başlı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A279DB5-4F4E-407E-81D7-DF344999A9B6}"/>
</file>

<file path=customXml/itemProps2.xml><?xml version="1.0" encoding="utf-8"?>
<ds:datastoreItem xmlns:ds="http://schemas.openxmlformats.org/officeDocument/2006/customXml" ds:itemID="{370F5B9C-D427-404D-844E-DCE97A5FA622}"/>
</file>

<file path=customXml/itemProps3.xml><?xml version="1.0" encoding="utf-8"?>
<ds:datastoreItem xmlns:ds="http://schemas.openxmlformats.org/officeDocument/2006/customXml" ds:itemID="{CFC6F11E-A166-47C3-BA28-A62CCFEEAEF4}"/>
</file>

<file path=docProps/app.xml><?xml version="1.0" encoding="utf-8"?>
<Properties xmlns="http://schemas.openxmlformats.org/officeDocument/2006/extended-properties" xmlns:vt="http://schemas.openxmlformats.org/officeDocument/2006/docPropsVTypes">
  <TotalTime>3124</TotalTime>
  <Words>4655</Words>
  <Application>Microsoft Office PowerPoint</Application>
  <PresentationFormat>Geniş ekran</PresentationFormat>
  <Paragraphs>894</Paragraphs>
  <Slides>50</Slides>
  <Notes>1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5</vt:i4>
      </vt:variant>
      <vt:variant>
        <vt:lpstr>Tema</vt:lpstr>
      </vt:variant>
      <vt:variant>
        <vt:i4>2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50</vt:i4>
      </vt:variant>
    </vt:vector>
  </HeadingPairs>
  <TitlesOfParts>
    <vt:vector size="58" baseType="lpstr">
      <vt:lpstr>Arial</vt:lpstr>
      <vt:lpstr>Arial Black</vt:lpstr>
      <vt:lpstr>Arial Narrow</vt:lpstr>
      <vt:lpstr>Calibri</vt:lpstr>
      <vt:lpstr>Calibri Light</vt:lpstr>
      <vt:lpstr>Office Teması</vt:lpstr>
      <vt:lpstr>1_Office Teması</vt:lpstr>
      <vt:lpstr>think-cell Slide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İbrahim ÜZEL</dc:creator>
  <cp:lastModifiedBy>İbrahim ÜZEL</cp:lastModifiedBy>
  <cp:revision>121</cp:revision>
  <dcterms:created xsi:type="dcterms:W3CDTF">2024-03-22T06:42:31Z</dcterms:created>
  <dcterms:modified xsi:type="dcterms:W3CDTF">2024-04-24T08:1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1DB61A35F6CD46B2A9CB1E0125EB9E</vt:lpwstr>
  </property>
</Properties>
</file>